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6"/>
  </p:notesMasterIdLst>
  <p:sldIdLst>
    <p:sldId id="1920" r:id="rId2"/>
    <p:sldId id="1857" r:id="rId3"/>
    <p:sldId id="1858" r:id="rId4"/>
    <p:sldId id="338" r:id="rId5"/>
  </p:sldIdLst>
  <p:sldSz cx="18288000" cy="10287000"/>
  <p:notesSz cx="6858000" cy="9144000"/>
  <p:embeddedFontLst>
    <p:embeddedFont>
      <p:font typeface="Titillium Web Bold" panose="00000800000000000000" charset="0"/>
      <p:regular r:id="rId7"/>
      <p:bold r:id="rId8"/>
    </p:embeddedFont>
  </p:embeddedFontLst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73B4"/>
    <a:srgbClr val="145875"/>
    <a:srgbClr val="F9FFC1"/>
    <a:srgbClr val="F3FF83"/>
    <a:srgbClr val="B4C800"/>
    <a:srgbClr val="AFDDF1"/>
    <a:srgbClr val="C2E6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4D3B37-91C8-4754-AD3E-967E2ABFF47A}" v="1" dt="2025-08-28T10:55:08.284"/>
    <p1510:client id="{FDFDE13A-BCE0-40D0-8F0D-B0CE07A90C68}" v="2875" dt="2025-08-28T08:49:06.0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63" autoAdjust="0"/>
    <p:restoredTop sz="97382" autoAdjust="0"/>
  </p:normalViewPr>
  <p:slideViewPr>
    <p:cSldViewPr>
      <p:cViewPr varScale="1">
        <p:scale>
          <a:sx n="71" d="100"/>
          <a:sy n="71" d="100"/>
        </p:scale>
        <p:origin x="102" y="11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kesh Chugani" userId="9c759398cfaae00f" providerId="LiveId" clId="{FDFDE13A-BCE0-40D0-8F0D-B0CE07A90C68}"/>
    <pc:docChg chg="undo redo custSel addSld delSld modSld sldOrd delMainMaster">
      <pc:chgData name="Vikesh Chugani" userId="9c759398cfaae00f" providerId="LiveId" clId="{FDFDE13A-BCE0-40D0-8F0D-B0CE07A90C68}" dt="2025-08-28T08:49:52.446" v="9098" actId="20577"/>
      <pc:docMkLst>
        <pc:docMk/>
      </pc:docMkLst>
      <pc:sldChg chg="modSp mod">
        <pc:chgData name="Vikesh Chugani" userId="9c759398cfaae00f" providerId="LiveId" clId="{FDFDE13A-BCE0-40D0-8F0D-B0CE07A90C68}" dt="2025-08-25T14:47:15.401" v="6073" actId="13926"/>
        <pc:sldMkLst>
          <pc:docMk/>
          <pc:sldMk cId="0" sldId="256"/>
        </pc:sldMkLst>
      </pc:sldChg>
      <pc:sldChg chg="add del">
        <pc:chgData name="Vikesh Chugani" userId="9c759398cfaae00f" providerId="LiveId" clId="{FDFDE13A-BCE0-40D0-8F0D-B0CE07A90C68}" dt="2025-08-25T15:30:30.890" v="6682" actId="47"/>
        <pc:sldMkLst>
          <pc:docMk/>
          <pc:sldMk cId="2570780154" sldId="308"/>
        </pc:sldMkLst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3126494913" sldId="319"/>
        </pc:sldMkLst>
      </pc:sldChg>
      <pc:sldChg chg="modSp add mod">
        <pc:chgData name="Vikesh Chugani" userId="9c759398cfaae00f" providerId="LiveId" clId="{FDFDE13A-BCE0-40D0-8F0D-B0CE07A90C68}" dt="2025-08-28T08:49:52.446" v="9098" actId="20577"/>
        <pc:sldMkLst>
          <pc:docMk/>
          <pc:sldMk cId="990182570" sldId="337"/>
        </pc:sldMkLst>
        <pc:spChg chg="mod">
          <ac:chgData name="Vikesh Chugani" userId="9c759398cfaae00f" providerId="LiveId" clId="{FDFDE13A-BCE0-40D0-8F0D-B0CE07A90C68}" dt="2025-08-28T08:49:52.446" v="9098" actId="20577"/>
          <ac:spMkLst>
            <pc:docMk/>
            <pc:sldMk cId="990182570" sldId="337"/>
            <ac:spMk id="31" creationId="{2E49D093-FEB7-46FD-8466-CEEED3D3FC92}"/>
          </ac:spMkLst>
        </pc:spChg>
      </pc:sldChg>
      <pc:sldChg chg="add">
        <pc:chgData name="Vikesh Chugani" userId="9c759398cfaae00f" providerId="LiveId" clId="{FDFDE13A-BCE0-40D0-8F0D-B0CE07A90C68}" dt="2025-08-25T15:34:44.710" v="6751"/>
        <pc:sldMkLst>
          <pc:docMk/>
          <pc:sldMk cId="0" sldId="338"/>
        </pc:sldMkLst>
      </pc:sldChg>
      <pc:sldChg chg="add del">
        <pc:chgData name="Vikesh Chugani" userId="9c759398cfaae00f" providerId="LiveId" clId="{FDFDE13A-BCE0-40D0-8F0D-B0CE07A90C68}" dt="2025-08-25T13:39:50.233" v="5424" actId="47"/>
        <pc:sldMkLst>
          <pc:docMk/>
          <pc:sldMk cId="1775406622" sldId="359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754354854" sldId="377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527962549" sldId="383"/>
        </pc:sldMkLst>
      </pc:sldChg>
      <pc:sldChg chg="modSp add mod">
        <pc:chgData name="Vikesh Chugani" userId="9c759398cfaae00f" providerId="LiveId" clId="{FDFDE13A-BCE0-40D0-8F0D-B0CE07A90C68}" dt="2025-08-25T14:29:33.971" v="5701" actId="6549"/>
        <pc:sldMkLst>
          <pc:docMk/>
          <pc:sldMk cId="933230722" sldId="387"/>
        </pc:sldMkLst>
      </pc:sldChg>
      <pc:sldChg chg="addSp delSp modSp add mod">
        <pc:chgData name="Vikesh Chugani" userId="9c759398cfaae00f" providerId="LiveId" clId="{FDFDE13A-BCE0-40D0-8F0D-B0CE07A90C68}" dt="2025-08-25T14:42:11.059" v="5933"/>
        <pc:sldMkLst>
          <pc:docMk/>
          <pc:sldMk cId="4163091949" sldId="398"/>
        </pc:sldMkLst>
      </pc:sldChg>
      <pc:sldChg chg="modSp add del mod modNotesTx">
        <pc:chgData name="Vikesh Chugani" userId="9c759398cfaae00f" providerId="LiveId" clId="{FDFDE13A-BCE0-40D0-8F0D-B0CE07A90C68}" dt="2025-08-28T07:36:10.343" v="7828" actId="20577"/>
        <pc:sldMkLst>
          <pc:docMk/>
          <pc:sldMk cId="2208242530" sldId="430"/>
        </pc:sldMkLst>
        <pc:spChg chg="mod">
          <ac:chgData name="Vikesh Chugani" userId="9c759398cfaae00f" providerId="LiveId" clId="{FDFDE13A-BCE0-40D0-8F0D-B0CE07A90C68}" dt="2025-08-28T07:18:37.456" v="7498" actId="108"/>
          <ac:spMkLst>
            <pc:docMk/>
            <pc:sldMk cId="2208242530" sldId="430"/>
            <ac:spMk id="11" creationId="{08E3A270-1E20-4C2F-EE1E-41661B2A5B02}"/>
          </ac:spMkLst>
        </pc:spChg>
        <pc:spChg chg="mod">
          <ac:chgData name="Vikesh Chugani" userId="9c759398cfaae00f" providerId="LiveId" clId="{FDFDE13A-BCE0-40D0-8F0D-B0CE07A90C68}" dt="2025-08-28T07:18:39.432" v="7499" actId="108"/>
          <ac:spMkLst>
            <pc:docMk/>
            <pc:sldMk cId="2208242530" sldId="430"/>
            <ac:spMk id="12" creationId="{7F8DCE26-2051-E165-6EFA-6AB7FBB85AB0}"/>
          </ac:spMkLst>
        </pc:spChg>
        <pc:spChg chg="mod">
          <ac:chgData name="Vikesh Chugani" userId="9c759398cfaae00f" providerId="LiveId" clId="{FDFDE13A-BCE0-40D0-8F0D-B0CE07A90C68}" dt="2025-08-28T07:18:41.113" v="7500" actId="108"/>
          <ac:spMkLst>
            <pc:docMk/>
            <pc:sldMk cId="2208242530" sldId="430"/>
            <ac:spMk id="13" creationId="{056160BD-07CD-DA14-C7FB-F803DD5C3DE7}"/>
          </ac:spMkLst>
        </pc:spChg>
        <pc:spChg chg="mod">
          <ac:chgData name="Vikesh Chugani" userId="9c759398cfaae00f" providerId="LiveId" clId="{FDFDE13A-BCE0-40D0-8F0D-B0CE07A90C68}" dt="2025-08-28T07:18:30.784" v="7494" actId="108"/>
          <ac:spMkLst>
            <pc:docMk/>
            <pc:sldMk cId="2208242530" sldId="430"/>
            <ac:spMk id="14" creationId="{A6C21476-0D91-84C0-C737-5538B6022CED}"/>
          </ac:spMkLst>
        </pc:spChg>
        <pc:spChg chg="mod">
          <ac:chgData name="Vikesh Chugani" userId="9c759398cfaae00f" providerId="LiveId" clId="{FDFDE13A-BCE0-40D0-8F0D-B0CE07A90C68}" dt="2025-08-28T07:18:42.536" v="7501" actId="108"/>
          <ac:spMkLst>
            <pc:docMk/>
            <pc:sldMk cId="2208242530" sldId="430"/>
            <ac:spMk id="15" creationId="{40D08E9E-D392-1D45-3E71-E469A4630618}"/>
          </ac:spMkLst>
        </pc:spChg>
        <pc:spChg chg="mod">
          <ac:chgData name="Vikesh Chugani" userId="9c759398cfaae00f" providerId="LiveId" clId="{FDFDE13A-BCE0-40D0-8F0D-B0CE07A90C68}" dt="2025-08-28T07:18:24.168" v="7490" actId="108"/>
          <ac:spMkLst>
            <pc:docMk/>
            <pc:sldMk cId="2208242530" sldId="430"/>
            <ac:spMk id="16" creationId="{10C1AC08-F439-54AC-A59A-39417FE40FF8}"/>
          </ac:spMkLst>
        </pc:spChg>
        <pc:spChg chg="mod">
          <ac:chgData name="Vikesh Chugani" userId="9c759398cfaae00f" providerId="LiveId" clId="{FDFDE13A-BCE0-40D0-8F0D-B0CE07A90C68}" dt="2025-08-28T07:18:25.631" v="7491" actId="108"/>
          <ac:spMkLst>
            <pc:docMk/>
            <pc:sldMk cId="2208242530" sldId="430"/>
            <ac:spMk id="17" creationId="{802CB898-1C7C-4D7A-4040-C37C905081CD}"/>
          </ac:spMkLst>
        </pc:spChg>
        <pc:spChg chg="mod">
          <ac:chgData name="Vikesh Chugani" userId="9c759398cfaae00f" providerId="LiveId" clId="{FDFDE13A-BCE0-40D0-8F0D-B0CE07A90C68}" dt="2025-08-28T07:18:27.327" v="7492" actId="108"/>
          <ac:spMkLst>
            <pc:docMk/>
            <pc:sldMk cId="2208242530" sldId="430"/>
            <ac:spMk id="18" creationId="{540E8B53-B904-DC13-3EEF-6203BC104C0A}"/>
          </ac:spMkLst>
        </pc:spChg>
        <pc:spChg chg="mod">
          <ac:chgData name="Vikesh Chugani" userId="9c759398cfaae00f" providerId="LiveId" clId="{FDFDE13A-BCE0-40D0-8F0D-B0CE07A90C68}" dt="2025-08-28T07:18:18.221" v="7489" actId="108"/>
          <ac:spMkLst>
            <pc:docMk/>
            <pc:sldMk cId="2208242530" sldId="430"/>
            <ac:spMk id="19" creationId="{E7807F6F-0E79-FA79-8601-4AE28EE34A91}"/>
          </ac:spMkLst>
        </pc:spChg>
        <pc:spChg chg="mod">
          <ac:chgData name="Vikesh Chugani" userId="9c759398cfaae00f" providerId="LiveId" clId="{FDFDE13A-BCE0-40D0-8F0D-B0CE07A90C68}" dt="2025-08-28T07:18:28.774" v="7493" actId="108"/>
          <ac:spMkLst>
            <pc:docMk/>
            <pc:sldMk cId="2208242530" sldId="430"/>
            <ac:spMk id="20" creationId="{B36B0983-22D2-81CC-E7E2-39D76F9E9556}"/>
          </ac:spMkLst>
        </pc:spChg>
      </pc:sldChg>
      <pc:sldChg chg="modSp add del mod">
        <pc:chgData name="Vikesh Chugani" userId="9c759398cfaae00f" providerId="LiveId" clId="{FDFDE13A-BCE0-40D0-8F0D-B0CE07A90C68}" dt="2025-08-25T14:39:45.072" v="5846" actId="108"/>
        <pc:sldMkLst>
          <pc:docMk/>
          <pc:sldMk cId="949735749" sldId="431"/>
        </pc:sldMkLst>
      </pc:sldChg>
      <pc:sldChg chg="modSp add del mod">
        <pc:chgData name="Vikesh Chugani" userId="9c759398cfaae00f" providerId="LiveId" clId="{FDFDE13A-BCE0-40D0-8F0D-B0CE07A90C68}" dt="2025-08-25T14:41:04.791" v="5848" actId="108"/>
        <pc:sldMkLst>
          <pc:docMk/>
          <pc:sldMk cId="1705545757" sldId="436"/>
        </pc:sldMkLst>
      </pc:sldChg>
      <pc:sldChg chg="modSp add del mod">
        <pc:chgData name="Vikesh Chugani" userId="9c759398cfaae00f" providerId="LiveId" clId="{FDFDE13A-BCE0-40D0-8F0D-B0CE07A90C68}" dt="2025-08-25T14:41:19.839" v="5850" actId="108"/>
        <pc:sldMkLst>
          <pc:docMk/>
          <pc:sldMk cId="919046105" sldId="437"/>
        </pc:sldMkLst>
      </pc:sldChg>
      <pc:sldChg chg="modSp add mod">
        <pc:chgData name="Vikesh Chugani" userId="9c759398cfaae00f" providerId="LiveId" clId="{FDFDE13A-BCE0-40D0-8F0D-B0CE07A90C68}" dt="2025-08-28T07:40:10.205" v="7845" actId="1035"/>
        <pc:sldMkLst>
          <pc:docMk/>
          <pc:sldMk cId="513812719" sldId="438"/>
        </pc:sldMkLst>
        <pc:spChg chg="mod">
          <ac:chgData name="Vikesh Chugani" userId="9c759398cfaae00f" providerId="LiveId" clId="{FDFDE13A-BCE0-40D0-8F0D-B0CE07A90C68}" dt="2025-08-28T07:40:10.205" v="7845" actId="1035"/>
          <ac:spMkLst>
            <pc:docMk/>
            <pc:sldMk cId="513812719" sldId="438"/>
            <ac:spMk id="719" creationId="{53693C3B-674B-F64C-A6CC-7A700CD2581E}"/>
          </ac:spMkLst>
        </pc:spChg>
        <pc:spChg chg="mod">
          <ac:chgData name="Vikesh Chugani" userId="9c759398cfaae00f" providerId="LiveId" clId="{FDFDE13A-BCE0-40D0-8F0D-B0CE07A90C68}" dt="2025-08-28T07:40:10.205" v="7845" actId="1035"/>
          <ac:spMkLst>
            <pc:docMk/>
            <pc:sldMk cId="513812719" sldId="438"/>
            <ac:spMk id="722" creationId="{81D722DC-CD82-30E8-4222-B7935FC8238F}"/>
          </ac:spMkLst>
        </pc:spChg>
        <pc:spChg chg="mod">
          <ac:chgData name="Vikesh Chugani" userId="9c759398cfaae00f" providerId="LiveId" clId="{FDFDE13A-BCE0-40D0-8F0D-B0CE07A90C68}" dt="2025-08-28T07:40:10.205" v="7845" actId="1035"/>
          <ac:spMkLst>
            <pc:docMk/>
            <pc:sldMk cId="513812719" sldId="438"/>
            <ac:spMk id="726" creationId="{8FE7BCC9-5A31-E518-E36D-836B599E3B9E}"/>
          </ac:spMkLst>
        </pc:spChg>
        <pc:spChg chg="mod">
          <ac:chgData name="Vikesh Chugani" userId="9c759398cfaae00f" providerId="LiveId" clId="{FDFDE13A-BCE0-40D0-8F0D-B0CE07A90C68}" dt="2025-08-28T07:39:56.901" v="7839"/>
          <ac:spMkLst>
            <pc:docMk/>
            <pc:sldMk cId="513812719" sldId="438"/>
            <ac:spMk id="728" creationId="{F8476DEA-863A-C1A5-B3C5-2E45DC4DFDC4}"/>
          </ac:spMkLst>
        </pc:spChg>
        <pc:spChg chg="mod">
          <ac:chgData name="Vikesh Chugani" userId="9c759398cfaae00f" providerId="LiveId" clId="{FDFDE13A-BCE0-40D0-8F0D-B0CE07A90C68}" dt="2025-08-28T07:40:10.205" v="7845" actId="1035"/>
          <ac:spMkLst>
            <pc:docMk/>
            <pc:sldMk cId="513812719" sldId="438"/>
            <ac:spMk id="729" creationId="{6EA75C71-7CD9-2D5D-1E81-25D3BA314C1B}"/>
          </ac:spMkLst>
        </pc:spChg>
        <pc:spChg chg="mod">
          <ac:chgData name="Vikesh Chugani" userId="9c759398cfaae00f" providerId="LiveId" clId="{FDFDE13A-BCE0-40D0-8F0D-B0CE07A90C68}" dt="2025-08-28T07:39:56.901" v="7839"/>
          <ac:spMkLst>
            <pc:docMk/>
            <pc:sldMk cId="513812719" sldId="438"/>
            <ac:spMk id="731" creationId="{B01D7BDC-6EBE-9C62-4FE7-9B2F56D0B568}"/>
          </ac:spMkLst>
        </pc:spChg>
        <pc:spChg chg="mod">
          <ac:chgData name="Vikesh Chugani" userId="9c759398cfaae00f" providerId="LiveId" clId="{FDFDE13A-BCE0-40D0-8F0D-B0CE07A90C68}" dt="2025-08-28T07:39:56.901" v="7839"/>
          <ac:spMkLst>
            <pc:docMk/>
            <pc:sldMk cId="513812719" sldId="438"/>
            <ac:spMk id="732" creationId="{826B7C3C-FED6-D8D0-1116-C0D4E8408A74}"/>
          </ac:spMkLst>
        </pc:spChg>
        <pc:spChg chg="mod">
          <ac:chgData name="Vikesh Chugani" userId="9c759398cfaae00f" providerId="LiveId" clId="{FDFDE13A-BCE0-40D0-8F0D-B0CE07A90C68}" dt="2025-08-28T07:39:56.901" v="7839"/>
          <ac:spMkLst>
            <pc:docMk/>
            <pc:sldMk cId="513812719" sldId="438"/>
            <ac:spMk id="736" creationId="{718856B7-2146-21F1-CA48-16EEEF19660B}"/>
          </ac:spMkLst>
        </pc:spChg>
        <pc:spChg chg="mod">
          <ac:chgData name="Vikesh Chugani" userId="9c759398cfaae00f" providerId="LiveId" clId="{FDFDE13A-BCE0-40D0-8F0D-B0CE07A90C68}" dt="2025-08-28T07:40:10.205" v="7845" actId="1035"/>
          <ac:spMkLst>
            <pc:docMk/>
            <pc:sldMk cId="513812719" sldId="438"/>
            <ac:spMk id="739" creationId="{70E3B55A-0E3A-8635-3223-82167E9DFCDA}"/>
          </ac:spMkLst>
        </pc:spChg>
        <pc:spChg chg="mod">
          <ac:chgData name="Vikesh Chugani" userId="9c759398cfaae00f" providerId="LiveId" clId="{FDFDE13A-BCE0-40D0-8F0D-B0CE07A90C68}" dt="2025-08-28T07:39:56.901" v="7839"/>
          <ac:spMkLst>
            <pc:docMk/>
            <pc:sldMk cId="513812719" sldId="438"/>
            <ac:spMk id="740" creationId="{4C1DF04E-734A-13D8-8DBC-E6BEE3756111}"/>
          </ac:spMkLst>
        </pc:spChg>
        <pc:spChg chg="mod">
          <ac:chgData name="Vikesh Chugani" userId="9c759398cfaae00f" providerId="LiveId" clId="{FDFDE13A-BCE0-40D0-8F0D-B0CE07A90C68}" dt="2025-08-28T07:39:58.551" v="7840"/>
          <ac:spMkLst>
            <pc:docMk/>
            <pc:sldMk cId="513812719" sldId="438"/>
            <ac:spMk id="749" creationId="{28CABF98-567C-4315-1635-09DE65978481}"/>
          </ac:spMkLst>
        </pc:spChg>
        <pc:spChg chg="mod">
          <ac:chgData name="Vikesh Chugani" userId="9c759398cfaae00f" providerId="LiveId" clId="{FDFDE13A-BCE0-40D0-8F0D-B0CE07A90C68}" dt="2025-08-28T07:40:10.205" v="7845" actId="1035"/>
          <ac:spMkLst>
            <pc:docMk/>
            <pc:sldMk cId="513812719" sldId="438"/>
            <ac:spMk id="750" creationId="{90F8283E-5040-18BA-345F-85203B91D545}"/>
          </ac:spMkLst>
        </pc:spChg>
        <pc:spChg chg="mod">
          <ac:chgData name="Vikesh Chugani" userId="9c759398cfaae00f" providerId="LiveId" clId="{FDFDE13A-BCE0-40D0-8F0D-B0CE07A90C68}" dt="2025-08-28T07:39:58.551" v="7840"/>
          <ac:spMkLst>
            <pc:docMk/>
            <pc:sldMk cId="513812719" sldId="438"/>
            <ac:spMk id="751" creationId="{4C94C553-B777-2215-4A54-92AB6AD848B6}"/>
          </ac:spMkLst>
        </pc:spChg>
        <pc:spChg chg="mod">
          <ac:chgData name="Vikesh Chugani" userId="9c759398cfaae00f" providerId="LiveId" clId="{FDFDE13A-BCE0-40D0-8F0D-B0CE07A90C68}" dt="2025-08-28T07:39:58.551" v="7840"/>
          <ac:spMkLst>
            <pc:docMk/>
            <pc:sldMk cId="513812719" sldId="438"/>
            <ac:spMk id="759" creationId="{7AD8FF10-8E72-F19E-4861-E08EA0DC15B3}"/>
          </ac:spMkLst>
        </pc:spChg>
        <pc:spChg chg="mod">
          <ac:chgData name="Vikesh Chugani" userId="9c759398cfaae00f" providerId="LiveId" clId="{FDFDE13A-BCE0-40D0-8F0D-B0CE07A90C68}" dt="2025-08-28T07:40:10.205" v="7845" actId="1035"/>
          <ac:spMkLst>
            <pc:docMk/>
            <pc:sldMk cId="513812719" sldId="438"/>
            <ac:spMk id="765" creationId="{69BEC10B-91AE-7314-3B97-5C985571FD0E}"/>
          </ac:spMkLst>
        </pc:spChg>
        <pc:spChg chg="mod">
          <ac:chgData name="Vikesh Chugani" userId="9c759398cfaae00f" providerId="LiveId" clId="{FDFDE13A-BCE0-40D0-8F0D-B0CE07A90C68}" dt="2025-08-28T07:39:58.551" v="7840"/>
          <ac:spMkLst>
            <pc:docMk/>
            <pc:sldMk cId="513812719" sldId="438"/>
            <ac:spMk id="767" creationId="{C97437C6-80E0-D86E-2330-304BCE466989}"/>
          </ac:spMkLst>
        </pc:spChg>
        <pc:spChg chg="mod">
          <ac:chgData name="Vikesh Chugani" userId="9c759398cfaae00f" providerId="LiveId" clId="{FDFDE13A-BCE0-40D0-8F0D-B0CE07A90C68}" dt="2025-08-28T07:39:58.551" v="7840"/>
          <ac:spMkLst>
            <pc:docMk/>
            <pc:sldMk cId="513812719" sldId="438"/>
            <ac:spMk id="770" creationId="{5861746D-69ED-A129-F247-ADA5E201F38D}"/>
          </ac:spMkLst>
        </pc:spChg>
        <pc:spChg chg="mod">
          <ac:chgData name="Vikesh Chugani" userId="9c759398cfaae00f" providerId="LiveId" clId="{FDFDE13A-BCE0-40D0-8F0D-B0CE07A90C68}" dt="2025-08-28T07:39:58.551" v="7840"/>
          <ac:spMkLst>
            <pc:docMk/>
            <pc:sldMk cId="513812719" sldId="438"/>
            <ac:spMk id="772" creationId="{07AD8AF4-842C-36A2-A5BB-20DEDE7FB1FA}"/>
          </ac:spMkLst>
        </pc:spChg>
        <pc:spChg chg="mod">
          <ac:chgData name="Vikesh Chugani" userId="9c759398cfaae00f" providerId="LiveId" clId="{FDFDE13A-BCE0-40D0-8F0D-B0CE07A90C68}" dt="2025-08-28T07:39:56.901" v="7839"/>
          <ac:spMkLst>
            <pc:docMk/>
            <pc:sldMk cId="513812719" sldId="438"/>
            <ac:spMk id="774" creationId="{B7FB446B-599F-30AF-B829-9AA826E63F1C}"/>
          </ac:spMkLst>
        </pc:spChg>
        <pc:spChg chg="mod">
          <ac:chgData name="Vikesh Chugani" userId="9c759398cfaae00f" providerId="LiveId" clId="{FDFDE13A-BCE0-40D0-8F0D-B0CE07A90C68}" dt="2025-08-28T07:40:10.205" v="7845" actId="1035"/>
          <ac:spMkLst>
            <pc:docMk/>
            <pc:sldMk cId="513812719" sldId="438"/>
            <ac:spMk id="776" creationId="{36E77223-B2A5-425E-9BF8-7A2575FD667D}"/>
          </ac:spMkLst>
        </pc:spChg>
        <pc:spChg chg="mod">
          <ac:chgData name="Vikesh Chugani" userId="9c759398cfaae00f" providerId="LiveId" clId="{FDFDE13A-BCE0-40D0-8F0D-B0CE07A90C68}" dt="2025-08-28T07:40:10.205" v="7845" actId="1035"/>
          <ac:spMkLst>
            <pc:docMk/>
            <pc:sldMk cId="513812719" sldId="438"/>
            <ac:spMk id="777" creationId="{58DDD362-29F2-C068-B478-2A09F26226FF}"/>
          </ac:spMkLst>
        </pc:spChg>
        <pc:spChg chg="mod">
          <ac:chgData name="Vikesh Chugani" userId="9c759398cfaae00f" providerId="LiveId" clId="{FDFDE13A-BCE0-40D0-8F0D-B0CE07A90C68}" dt="2025-08-28T07:39:56.901" v="7839"/>
          <ac:spMkLst>
            <pc:docMk/>
            <pc:sldMk cId="513812719" sldId="438"/>
            <ac:spMk id="778" creationId="{050997ED-F819-FAB5-6CC9-46F882B74A98}"/>
          </ac:spMkLst>
        </pc:spChg>
        <pc:spChg chg="mod">
          <ac:chgData name="Vikesh Chugani" userId="9c759398cfaae00f" providerId="LiveId" clId="{FDFDE13A-BCE0-40D0-8F0D-B0CE07A90C68}" dt="2025-08-28T07:39:58.551" v="7840"/>
          <ac:spMkLst>
            <pc:docMk/>
            <pc:sldMk cId="513812719" sldId="438"/>
            <ac:spMk id="779" creationId="{30CD4B5F-F7FD-9C98-7A1A-86C23FE32CDA}"/>
          </ac:spMkLst>
        </pc:spChg>
        <pc:spChg chg="mod">
          <ac:chgData name="Vikesh Chugani" userId="9c759398cfaae00f" providerId="LiveId" clId="{FDFDE13A-BCE0-40D0-8F0D-B0CE07A90C68}" dt="2025-08-28T07:39:52.830" v="7838" actId="20577"/>
          <ac:spMkLst>
            <pc:docMk/>
            <pc:sldMk cId="513812719" sldId="438"/>
            <ac:spMk id="780" creationId="{8FECF027-6250-F813-AC5E-51438E442E95}"/>
          </ac:spMkLst>
        </pc:spChg>
        <pc:spChg chg="mod">
          <ac:chgData name="Vikesh Chugani" userId="9c759398cfaae00f" providerId="LiveId" clId="{FDFDE13A-BCE0-40D0-8F0D-B0CE07A90C68}" dt="2025-08-28T07:40:00.719" v="7841" actId="20577"/>
          <ac:spMkLst>
            <pc:docMk/>
            <pc:sldMk cId="513812719" sldId="438"/>
            <ac:spMk id="781" creationId="{F80D0FFD-6C4F-9C30-FEE4-2C2B44666BC0}"/>
          </ac:spMkLst>
        </pc:spChg>
        <pc:spChg chg="mod">
          <ac:chgData name="Vikesh Chugani" userId="9c759398cfaae00f" providerId="LiveId" clId="{FDFDE13A-BCE0-40D0-8F0D-B0CE07A90C68}" dt="2025-08-28T07:39:58.551" v="7840"/>
          <ac:spMkLst>
            <pc:docMk/>
            <pc:sldMk cId="513812719" sldId="438"/>
            <ac:spMk id="782" creationId="{F7A41217-7D0C-0B76-C52D-A0E82B9FDFEA}"/>
          </ac:spMkLst>
        </pc:spChg>
        <pc:spChg chg="mod">
          <ac:chgData name="Vikesh Chugani" userId="9c759398cfaae00f" providerId="LiveId" clId="{FDFDE13A-BCE0-40D0-8F0D-B0CE07A90C68}" dt="2025-08-28T07:40:10.205" v="7845" actId="1035"/>
          <ac:spMkLst>
            <pc:docMk/>
            <pc:sldMk cId="513812719" sldId="438"/>
            <ac:spMk id="783" creationId="{68BCABF9-88FD-E96D-4576-985C43280FB5}"/>
          </ac:spMkLst>
        </pc:spChg>
        <pc:spChg chg="mod">
          <ac:chgData name="Vikesh Chugani" userId="9c759398cfaae00f" providerId="LiveId" clId="{FDFDE13A-BCE0-40D0-8F0D-B0CE07A90C68}" dt="2025-08-28T07:39:58.551" v="7840"/>
          <ac:spMkLst>
            <pc:docMk/>
            <pc:sldMk cId="513812719" sldId="438"/>
            <ac:spMk id="784" creationId="{95B52E41-57B4-9063-DBFC-F955D13EA906}"/>
          </ac:spMkLst>
        </pc:spChg>
      </pc:sldChg>
      <pc:sldChg chg="modSp add del mod">
        <pc:chgData name="Vikesh Chugani" userId="9c759398cfaae00f" providerId="LiveId" clId="{FDFDE13A-BCE0-40D0-8F0D-B0CE07A90C68}" dt="2025-08-25T13:39:50.233" v="5424" actId="47"/>
        <pc:sldMkLst>
          <pc:docMk/>
          <pc:sldMk cId="2374651366" sldId="439"/>
        </pc:sldMkLst>
      </pc:sldChg>
      <pc:sldChg chg="addSp modSp add mod modNotesTx">
        <pc:chgData name="Vikesh Chugani" userId="9c759398cfaae00f" providerId="LiveId" clId="{FDFDE13A-BCE0-40D0-8F0D-B0CE07A90C68}" dt="2025-08-28T08:06:34.476" v="8816" actId="20577"/>
        <pc:sldMkLst>
          <pc:docMk/>
          <pc:sldMk cId="1544276933" sldId="445"/>
        </pc:sldMkLst>
        <pc:spChg chg="add mod">
          <ac:chgData name="Vikesh Chugani" userId="9c759398cfaae00f" providerId="LiveId" clId="{FDFDE13A-BCE0-40D0-8F0D-B0CE07A90C68}" dt="2025-08-28T07:11:43.017" v="7418"/>
          <ac:spMkLst>
            <pc:docMk/>
            <pc:sldMk cId="1544276933" sldId="445"/>
            <ac:spMk id="3" creationId="{729CD07F-FB3D-CCF4-6951-3F6063F040E6}"/>
          </ac:spMkLst>
        </pc:spChg>
        <pc:spChg chg="add mod">
          <ac:chgData name="Vikesh Chugani" userId="9c759398cfaae00f" providerId="LiveId" clId="{FDFDE13A-BCE0-40D0-8F0D-B0CE07A90C68}" dt="2025-08-28T07:11:43.017" v="7418"/>
          <ac:spMkLst>
            <pc:docMk/>
            <pc:sldMk cId="1544276933" sldId="445"/>
            <ac:spMk id="6" creationId="{43314034-BFE3-8B08-EAE7-F865FC5971BE}"/>
          </ac:spMkLst>
        </pc:spChg>
        <pc:spChg chg="add mod">
          <ac:chgData name="Vikesh Chugani" userId="9c759398cfaae00f" providerId="LiveId" clId="{FDFDE13A-BCE0-40D0-8F0D-B0CE07A90C68}" dt="2025-08-28T07:11:43.017" v="7418"/>
          <ac:spMkLst>
            <pc:docMk/>
            <pc:sldMk cId="1544276933" sldId="445"/>
            <ac:spMk id="7" creationId="{018287FC-DDCB-23F0-D4D5-E215565EF70D}"/>
          </ac:spMkLst>
        </pc:spChg>
        <pc:spChg chg="add mod">
          <ac:chgData name="Vikesh Chugani" userId="9c759398cfaae00f" providerId="LiveId" clId="{FDFDE13A-BCE0-40D0-8F0D-B0CE07A90C68}" dt="2025-08-28T07:11:43.017" v="7418"/>
          <ac:spMkLst>
            <pc:docMk/>
            <pc:sldMk cId="1544276933" sldId="445"/>
            <ac:spMk id="20" creationId="{5307E4D0-5622-76E9-89C5-89FA5585BAFC}"/>
          </ac:spMkLst>
        </pc:spChg>
        <pc:spChg chg="add mod">
          <ac:chgData name="Vikesh Chugani" userId="9c759398cfaae00f" providerId="LiveId" clId="{FDFDE13A-BCE0-40D0-8F0D-B0CE07A90C68}" dt="2025-08-28T07:11:43.017" v="7418"/>
          <ac:spMkLst>
            <pc:docMk/>
            <pc:sldMk cId="1544276933" sldId="445"/>
            <ac:spMk id="21" creationId="{EAB50E35-A75B-82CA-4098-4099C08C0359}"/>
          </ac:spMkLst>
        </pc:spChg>
        <pc:spChg chg="mod">
          <ac:chgData name="Vikesh Chugani" userId="9c759398cfaae00f" providerId="LiveId" clId="{FDFDE13A-BCE0-40D0-8F0D-B0CE07A90C68}" dt="2025-08-28T07:10:27.332" v="7410" actId="207"/>
          <ac:spMkLst>
            <pc:docMk/>
            <pc:sldMk cId="1544276933" sldId="445"/>
            <ac:spMk id="77" creationId="{00000000-0000-0000-0000-000000000000}"/>
          </ac:spMkLst>
        </pc:spChg>
        <pc:spChg chg="add mod">
          <ac:chgData name="Vikesh Chugani" userId="9c759398cfaae00f" providerId="LiveId" clId="{FDFDE13A-BCE0-40D0-8F0D-B0CE07A90C68}" dt="2025-08-28T07:11:43.017" v="7418"/>
          <ac:spMkLst>
            <pc:docMk/>
            <pc:sldMk cId="1544276933" sldId="445"/>
            <ac:spMk id="85" creationId="{80358FAF-6E04-AD9E-6AD3-BAC025A03287}"/>
          </ac:spMkLst>
        </pc:spChg>
        <pc:spChg chg="add mod">
          <ac:chgData name="Vikesh Chugani" userId="9c759398cfaae00f" providerId="LiveId" clId="{FDFDE13A-BCE0-40D0-8F0D-B0CE07A90C68}" dt="2025-08-28T07:11:43.017" v="7418"/>
          <ac:spMkLst>
            <pc:docMk/>
            <pc:sldMk cId="1544276933" sldId="445"/>
            <ac:spMk id="86" creationId="{93E9A175-570C-A54A-428D-ADEF52552DAF}"/>
          </ac:spMkLst>
        </pc:spChg>
        <pc:spChg chg="add mod">
          <ac:chgData name="Vikesh Chugani" userId="9c759398cfaae00f" providerId="LiveId" clId="{FDFDE13A-BCE0-40D0-8F0D-B0CE07A90C68}" dt="2025-08-28T07:11:43.017" v="7418"/>
          <ac:spMkLst>
            <pc:docMk/>
            <pc:sldMk cId="1544276933" sldId="445"/>
            <ac:spMk id="88" creationId="{D7D98300-C1EC-690B-9A2D-44F8735BE556}"/>
          </ac:spMkLst>
        </pc:spChg>
        <pc:spChg chg="add mod">
          <ac:chgData name="Vikesh Chugani" userId="9c759398cfaae00f" providerId="LiveId" clId="{FDFDE13A-BCE0-40D0-8F0D-B0CE07A90C68}" dt="2025-08-28T07:11:43.017" v="7418"/>
          <ac:spMkLst>
            <pc:docMk/>
            <pc:sldMk cId="1544276933" sldId="445"/>
            <ac:spMk id="90" creationId="{9FA8DBF9-D8F1-8D1D-CEFD-F1809435D546}"/>
          </ac:spMkLst>
        </pc:spChg>
        <pc:spChg chg="add mod">
          <ac:chgData name="Vikesh Chugani" userId="9c759398cfaae00f" providerId="LiveId" clId="{FDFDE13A-BCE0-40D0-8F0D-B0CE07A90C68}" dt="2025-08-28T07:11:43.017" v="7418"/>
          <ac:spMkLst>
            <pc:docMk/>
            <pc:sldMk cId="1544276933" sldId="445"/>
            <ac:spMk id="95" creationId="{24462137-8EBD-8D3B-3F35-C3A0CC5F80BE}"/>
          </ac:spMkLst>
        </pc:spChg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2272160147" sldId="445"/>
        </pc:sldMkLst>
      </pc:sldChg>
      <pc:sldChg chg="modSp add del mod ord">
        <pc:chgData name="Vikesh Chugani" userId="9c759398cfaae00f" providerId="LiveId" clId="{FDFDE13A-BCE0-40D0-8F0D-B0CE07A90C68}" dt="2025-08-25T15:34:32.714" v="6749" actId="47"/>
        <pc:sldMkLst>
          <pc:docMk/>
          <pc:sldMk cId="269949288" sldId="456"/>
        </pc:sldMkLst>
      </pc:sldChg>
      <pc:sldChg chg="modSp add del mod ord">
        <pc:chgData name="Vikesh Chugani" userId="9c759398cfaae00f" providerId="LiveId" clId="{FDFDE13A-BCE0-40D0-8F0D-B0CE07A90C68}" dt="2025-08-25T13:39:50.233" v="5424" actId="47"/>
        <pc:sldMkLst>
          <pc:docMk/>
          <pc:sldMk cId="263963769" sldId="460"/>
        </pc:sldMkLst>
      </pc:sldChg>
      <pc:sldChg chg="modSp add mod ord modNotesTx">
        <pc:chgData name="Vikesh Chugani" userId="9c759398cfaae00f" providerId="LiveId" clId="{FDFDE13A-BCE0-40D0-8F0D-B0CE07A90C68}" dt="2025-08-28T07:07:25.488" v="7407" actId="113"/>
        <pc:sldMkLst>
          <pc:docMk/>
          <pc:sldMk cId="3472588841" sldId="473"/>
        </pc:sldMkLst>
        <pc:spChg chg="mod">
          <ac:chgData name="Vikesh Chugani" userId="9c759398cfaae00f" providerId="LiveId" clId="{FDFDE13A-BCE0-40D0-8F0D-B0CE07A90C68}" dt="2025-08-28T07:07:25.488" v="7407" actId="113"/>
          <ac:spMkLst>
            <pc:docMk/>
            <pc:sldMk cId="3472588841" sldId="473"/>
            <ac:spMk id="8" creationId="{00000000-0000-0000-0000-000000000000}"/>
          </ac:spMkLst>
        </pc:spChg>
        <pc:spChg chg="mod">
          <ac:chgData name="Vikesh Chugani" userId="9c759398cfaae00f" providerId="LiveId" clId="{FDFDE13A-BCE0-40D0-8F0D-B0CE07A90C68}" dt="2025-08-28T07:07:16.211" v="7406" actId="113"/>
          <ac:spMkLst>
            <pc:docMk/>
            <pc:sldMk cId="3472588841" sldId="473"/>
            <ac:spMk id="12" creationId="{00000000-0000-0000-0000-000000000000}"/>
          </ac:spMkLst>
        </pc:spChg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1885496752" sldId="474"/>
        </pc:sldMkLst>
      </pc:sldChg>
      <pc:sldChg chg="del">
        <pc:chgData name="Vikesh Chugani" userId="9c759398cfaae00f" providerId="LiveId" clId="{FDFDE13A-BCE0-40D0-8F0D-B0CE07A90C68}" dt="2025-08-25T13:39:50.233" v="5424" actId="47"/>
        <pc:sldMkLst>
          <pc:docMk/>
          <pc:sldMk cId="962720674" sldId="520"/>
        </pc:sldMkLst>
      </pc:sldChg>
      <pc:sldChg chg="del">
        <pc:chgData name="Vikesh Chugani" userId="9c759398cfaae00f" providerId="LiveId" clId="{FDFDE13A-BCE0-40D0-8F0D-B0CE07A90C68}" dt="2025-08-25T15:34:34.225" v="6750" actId="47"/>
        <pc:sldMkLst>
          <pc:docMk/>
          <pc:sldMk cId="232353031" sldId="547"/>
        </pc:sldMkLst>
      </pc:sldChg>
      <pc:sldChg chg="modSp add del mod">
        <pc:chgData name="Vikesh Chugani" userId="9c759398cfaae00f" providerId="LiveId" clId="{FDFDE13A-BCE0-40D0-8F0D-B0CE07A90C68}" dt="2025-08-25T14:28:38.543" v="5694" actId="47"/>
        <pc:sldMkLst>
          <pc:docMk/>
          <pc:sldMk cId="2553646841" sldId="733"/>
        </pc:sldMkLst>
      </pc:sldChg>
      <pc:sldChg chg="delSp modSp add del mod ord">
        <pc:chgData name="Vikesh Chugani" userId="9c759398cfaae00f" providerId="LiveId" clId="{FDFDE13A-BCE0-40D0-8F0D-B0CE07A90C68}" dt="2025-08-25T13:39:50.233" v="5424" actId="47"/>
        <pc:sldMkLst>
          <pc:docMk/>
          <pc:sldMk cId="1760787026" sldId="1445"/>
        </pc:sldMkLst>
      </pc:sldChg>
      <pc:sldChg chg="addSp delSp modSp add del mod ord">
        <pc:chgData name="Vikesh Chugani" userId="9c759398cfaae00f" providerId="LiveId" clId="{FDFDE13A-BCE0-40D0-8F0D-B0CE07A90C68}" dt="2025-08-25T13:39:50.233" v="5424" actId="47"/>
        <pc:sldMkLst>
          <pc:docMk/>
          <pc:sldMk cId="2634349450" sldId="1447"/>
        </pc:sldMkLst>
      </pc:sldChg>
      <pc:sldChg chg="addSp delSp modSp add del mod ord">
        <pc:chgData name="Vikesh Chugani" userId="9c759398cfaae00f" providerId="LiveId" clId="{FDFDE13A-BCE0-40D0-8F0D-B0CE07A90C68}" dt="2025-08-25T13:39:50.233" v="5424" actId="47"/>
        <pc:sldMkLst>
          <pc:docMk/>
          <pc:sldMk cId="3203829869" sldId="1450"/>
        </pc:sldMkLst>
      </pc:sldChg>
      <pc:sldChg chg="addSp delSp modSp add del mod ord">
        <pc:chgData name="Vikesh Chugani" userId="9c759398cfaae00f" providerId="LiveId" clId="{FDFDE13A-BCE0-40D0-8F0D-B0CE07A90C68}" dt="2025-08-25T13:39:50.233" v="5424" actId="47"/>
        <pc:sldMkLst>
          <pc:docMk/>
          <pc:sldMk cId="889697064" sldId="1452"/>
        </pc:sldMkLst>
      </pc:sldChg>
      <pc:sldChg chg="addSp delSp modSp add del mod ord">
        <pc:chgData name="Vikesh Chugani" userId="9c759398cfaae00f" providerId="LiveId" clId="{FDFDE13A-BCE0-40D0-8F0D-B0CE07A90C68}" dt="2025-08-25T13:39:50.233" v="5424" actId="47"/>
        <pc:sldMkLst>
          <pc:docMk/>
          <pc:sldMk cId="2959898615" sldId="1461"/>
        </pc:sldMkLst>
      </pc:sldChg>
      <pc:sldChg chg="del">
        <pc:chgData name="Vikesh Chugani" userId="9c759398cfaae00f" providerId="LiveId" clId="{FDFDE13A-BCE0-40D0-8F0D-B0CE07A90C68}" dt="2025-08-25T14:29:15.945" v="5697" actId="47"/>
        <pc:sldMkLst>
          <pc:docMk/>
          <pc:sldMk cId="1363970311" sldId="1472"/>
        </pc:sldMkLst>
      </pc:sldChg>
      <pc:sldChg chg="addSp delSp modSp add del mod ord">
        <pc:chgData name="Vikesh Chugani" userId="9c759398cfaae00f" providerId="LiveId" clId="{FDFDE13A-BCE0-40D0-8F0D-B0CE07A90C68}" dt="2025-08-25T13:39:50.233" v="5424" actId="47"/>
        <pc:sldMkLst>
          <pc:docMk/>
          <pc:sldMk cId="3108579997" sldId="1477"/>
        </pc:sldMkLst>
      </pc:sldChg>
      <pc:sldChg chg="addSp delSp modSp add del mod ord">
        <pc:chgData name="Vikesh Chugani" userId="9c759398cfaae00f" providerId="LiveId" clId="{FDFDE13A-BCE0-40D0-8F0D-B0CE07A90C68}" dt="2025-08-25T13:39:50.233" v="5424" actId="47"/>
        <pc:sldMkLst>
          <pc:docMk/>
          <pc:sldMk cId="1034270096" sldId="1478"/>
        </pc:sldMkLst>
      </pc:sldChg>
      <pc:sldChg chg="ord">
        <pc:chgData name="Vikesh Chugani" userId="9c759398cfaae00f" providerId="LiveId" clId="{FDFDE13A-BCE0-40D0-8F0D-B0CE07A90C68}" dt="2025-08-22T13:26:17.464" v="29"/>
        <pc:sldMkLst>
          <pc:docMk/>
          <pc:sldMk cId="1042541821" sldId="1652"/>
        </pc:sldMkLst>
      </pc:sldChg>
      <pc:sldChg chg="modSp add del mod ord">
        <pc:chgData name="Vikesh Chugani" userId="9c759398cfaae00f" providerId="LiveId" clId="{FDFDE13A-BCE0-40D0-8F0D-B0CE07A90C68}" dt="2025-08-25T13:39:50.233" v="5424" actId="47"/>
        <pc:sldMkLst>
          <pc:docMk/>
          <pc:sldMk cId="3138668389" sldId="1654"/>
        </pc:sldMkLst>
      </pc:sldChg>
      <pc:sldChg chg="addSp delSp modSp add mod modShow">
        <pc:chgData name="Vikesh Chugani" userId="9c759398cfaae00f" providerId="LiveId" clId="{FDFDE13A-BCE0-40D0-8F0D-B0CE07A90C68}" dt="2025-08-28T07:07:40.299" v="7408" actId="729"/>
        <pc:sldMkLst>
          <pc:docMk/>
          <pc:sldMk cId="855972777" sldId="1678"/>
        </pc:sldMkLst>
      </pc:sldChg>
      <pc:sldChg chg="addSp delSp modSp add del mod ord">
        <pc:chgData name="Vikesh Chugani" userId="9c759398cfaae00f" providerId="LiveId" clId="{FDFDE13A-BCE0-40D0-8F0D-B0CE07A90C68}" dt="2025-08-28T07:14:26.016" v="7477" actId="47"/>
        <pc:sldMkLst>
          <pc:docMk/>
          <pc:sldMk cId="3585551903" sldId="1679"/>
        </pc:sldMkLst>
        <pc:spChg chg="add mod">
          <ac:chgData name="Vikesh Chugani" userId="9c759398cfaae00f" providerId="LiveId" clId="{FDFDE13A-BCE0-40D0-8F0D-B0CE07A90C68}" dt="2025-08-28T07:11:26.700" v="7415"/>
          <ac:spMkLst>
            <pc:docMk/>
            <pc:sldMk cId="3585551903" sldId="1679"/>
            <ac:spMk id="2" creationId="{60B50F99-C289-8B90-E1EE-150B446EC843}"/>
          </ac:spMkLst>
        </pc:spChg>
        <pc:spChg chg="add mod">
          <ac:chgData name="Vikesh Chugani" userId="9c759398cfaae00f" providerId="LiveId" clId="{FDFDE13A-BCE0-40D0-8F0D-B0CE07A90C68}" dt="2025-08-28T07:11:26.700" v="7415"/>
          <ac:spMkLst>
            <pc:docMk/>
            <pc:sldMk cId="3585551903" sldId="1679"/>
            <ac:spMk id="7" creationId="{AAA16F7B-7324-32C6-DB0E-4C00486D7B71}"/>
          </ac:spMkLst>
        </pc:spChg>
        <pc:spChg chg="add mod">
          <ac:chgData name="Vikesh Chugani" userId="9c759398cfaae00f" providerId="LiveId" clId="{FDFDE13A-BCE0-40D0-8F0D-B0CE07A90C68}" dt="2025-08-28T07:11:26.700" v="7415"/>
          <ac:spMkLst>
            <pc:docMk/>
            <pc:sldMk cId="3585551903" sldId="1679"/>
            <ac:spMk id="8" creationId="{0E410199-BF6A-9172-B2D2-5CFB13524BC9}"/>
          </ac:spMkLst>
        </pc:spChg>
        <pc:spChg chg="add mod">
          <ac:chgData name="Vikesh Chugani" userId="9c759398cfaae00f" providerId="LiveId" clId="{FDFDE13A-BCE0-40D0-8F0D-B0CE07A90C68}" dt="2025-08-28T07:11:26.700" v="7415"/>
          <ac:spMkLst>
            <pc:docMk/>
            <pc:sldMk cId="3585551903" sldId="1679"/>
            <ac:spMk id="11" creationId="{0885CBC7-02D3-A1DB-F853-0654A46D34A9}"/>
          </ac:spMkLst>
        </pc:spChg>
        <pc:spChg chg="add mod">
          <ac:chgData name="Vikesh Chugani" userId="9c759398cfaae00f" providerId="LiveId" clId="{FDFDE13A-BCE0-40D0-8F0D-B0CE07A90C68}" dt="2025-08-28T07:11:26.700" v="7415"/>
          <ac:spMkLst>
            <pc:docMk/>
            <pc:sldMk cId="3585551903" sldId="1679"/>
            <ac:spMk id="12" creationId="{21B69FD1-A737-1577-4491-619B5D3F3BCC}"/>
          </ac:spMkLst>
        </pc:spChg>
        <pc:spChg chg="add mod">
          <ac:chgData name="Vikesh Chugani" userId="9c759398cfaae00f" providerId="LiveId" clId="{FDFDE13A-BCE0-40D0-8F0D-B0CE07A90C68}" dt="2025-08-28T07:11:26.700" v="7415"/>
          <ac:spMkLst>
            <pc:docMk/>
            <pc:sldMk cId="3585551903" sldId="1679"/>
            <ac:spMk id="14" creationId="{C8F850A1-5B6C-BD76-BD62-3745C8F07F11}"/>
          </ac:spMkLst>
        </pc:spChg>
        <pc:spChg chg="add mod">
          <ac:chgData name="Vikesh Chugani" userId="9c759398cfaae00f" providerId="LiveId" clId="{FDFDE13A-BCE0-40D0-8F0D-B0CE07A90C68}" dt="2025-08-28T07:11:26.700" v="7415"/>
          <ac:spMkLst>
            <pc:docMk/>
            <pc:sldMk cId="3585551903" sldId="1679"/>
            <ac:spMk id="15" creationId="{C00290F2-C690-9BEC-9573-68B73D12F1ED}"/>
          </ac:spMkLst>
        </pc:spChg>
        <pc:spChg chg="add mod">
          <ac:chgData name="Vikesh Chugani" userId="9c759398cfaae00f" providerId="LiveId" clId="{FDFDE13A-BCE0-40D0-8F0D-B0CE07A90C68}" dt="2025-08-28T07:11:26.700" v="7415"/>
          <ac:spMkLst>
            <pc:docMk/>
            <pc:sldMk cId="3585551903" sldId="1679"/>
            <ac:spMk id="16" creationId="{393B8A41-EA67-7A7F-426D-7591422AF12B}"/>
          </ac:spMkLst>
        </pc:spChg>
        <pc:spChg chg="add mod">
          <ac:chgData name="Vikesh Chugani" userId="9c759398cfaae00f" providerId="LiveId" clId="{FDFDE13A-BCE0-40D0-8F0D-B0CE07A90C68}" dt="2025-08-28T07:11:26.700" v="7415"/>
          <ac:spMkLst>
            <pc:docMk/>
            <pc:sldMk cId="3585551903" sldId="1679"/>
            <ac:spMk id="17" creationId="{00C072BD-7AE1-E10D-7368-22A964518757}"/>
          </ac:spMkLst>
        </pc:spChg>
        <pc:spChg chg="add mod">
          <ac:chgData name="Vikesh Chugani" userId="9c759398cfaae00f" providerId="LiveId" clId="{FDFDE13A-BCE0-40D0-8F0D-B0CE07A90C68}" dt="2025-08-28T07:11:26.700" v="7415"/>
          <ac:spMkLst>
            <pc:docMk/>
            <pc:sldMk cId="3585551903" sldId="1679"/>
            <ac:spMk id="19" creationId="{7680D697-4A74-4EE9-D2FD-04C326D2FCBE}"/>
          </ac:spMkLst>
        </pc:spChg>
        <pc:spChg chg="add mod">
          <ac:chgData name="Vikesh Chugani" userId="9c759398cfaae00f" providerId="LiveId" clId="{FDFDE13A-BCE0-40D0-8F0D-B0CE07A90C68}" dt="2025-08-28T07:11:36.541" v="7417" actId="1076"/>
          <ac:spMkLst>
            <pc:docMk/>
            <pc:sldMk cId="3585551903" sldId="1679"/>
            <ac:spMk id="24" creationId="{00DD0A24-6C00-2008-17D4-E195016FC01C}"/>
          </ac:spMkLst>
        </pc:spChg>
        <pc:spChg chg="add mod">
          <ac:chgData name="Vikesh Chugani" userId="9c759398cfaae00f" providerId="LiveId" clId="{FDFDE13A-BCE0-40D0-8F0D-B0CE07A90C68}" dt="2025-08-28T07:11:36.541" v="7417" actId="1076"/>
          <ac:spMkLst>
            <pc:docMk/>
            <pc:sldMk cId="3585551903" sldId="1679"/>
            <ac:spMk id="27" creationId="{CF687666-45EC-6B0F-7A37-DD740A361A62}"/>
          </ac:spMkLst>
        </pc:spChg>
        <pc:spChg chg="add mod">
          <ac:chgData name="Vikesh Chugani" userId="9c759398cfaae00f" providerId="LiveId" clId="{FDFDE13A-BCE0-40D0-8F0D-B0CE07A90C68}" dt="2025-08-28T07:11:36.541" v="7417" actId="1076"/>
          <ac:spMkLst>
            <pc:docMk/>
            <pc:sldMk cId="3585551903" sldId="1679"/>
            <ac:spMk id="32" creationId="{003F1F1D-8D53-848A-58A2-E71C0A9491DF}"/>
          </ac:spMkLst>
        </pc:spChg>
        <pc:spChg chg="add mod">
          <ac:chgData name="Vikesh Chugani" userId="9c759398cfaae00f" providerId="LiveId" clId="{FDFDE13A-BCE0-40D0-8F0D-B0CE07A90C68}" dt="2025-08-28T07:11:36.541" v="7417" actId="1076"/>
          <ac:spMkLst>
            <pc:docMk/>
            <pc:sldMk cId="3585551903" sldId="1679"/>
            <ac:spMk id="33" creationId="{922707EB-6DB3-11F0-C3D0-D262B32E6AD4}"/>
          </ac:spMkLst>
        </pc:spChg>
        <pc:spChg chg="add mod">
          <ac:chgData name="Vikesh Chugani" userId="9c759398cfaae00f" providerId="LiveId" clId="{FDFDE13A-BCE0-40D0-8F0D-B0CE07A90C68}" dt="2025-08-28T07:11:36.541" v="7417" actId="1076"/>
          <ac:spMkLst>
            <pc:docMk/>
            <pc:sldMk cId="3585551903" sldId="1679"/>
            <ac:spMk id="34" creationId="{FEC212C8-1D35-7660-AA34-D1E52813FF07}"/>
          </ac:spMkLst>
        </pc:spChg>
        <pc:spChg chg="add mod">
          <ac:chgData name="Vikesh Chugani" userId="9c759398cfaae00f" providerId="LiveId" clId="{FDFDE13A-BCE0-40D0-8F0D-B0CE07A90C68}" dt="2025-08-28T07:11:36.541" v="7417" actId="1076"/>
          <ac:spMkLst>
            <pc:docMk/>
            <pc:sldMk cId="3585551903" sldId="1679"/>
            <ac:spMk id="37" creationId="{2A6FD807-25B9-DB10-A8CA-B66E75B470A6}"/>
          </ac:spMkLst>
        </pc:spChg>
        <pc:spChg chg="add mod">
          <ac:chgData name="Vikesh Chugani" userId="9c759398cfaae00f" providerId="LiveId" clId="{FDFDE13A-BCE0-40D0-8F0D-B0CE07A90C68}" dt="2025-08-28T07:11:36.541" v="7417" actId="1076"/>
          <ac:spMkLst>
            <pc:docMk/>
            <pc:sldMk cId="3585551903" sldId="1679"/>
            <ac:spMk id="38" creationId="{B857D2B6-2766-E21F-174A-D00125879A62}"/>
          </ac:spMkLst>
        </pc:spChg>
        <pc:spChg chg="add mod">
          <ac:chgData name="Vikesh Chugani" userId="9c759398cfaae00f" providerId="LiveId" clId="{FDFDE13A-BCE0-40D0-8F0D-B0CE07A90C68}" dt="2025-08-28T07:11:36.541" v="7417" actId="1076"/>
          <ac:spMkLst>
            <pc:docMk/>
            <pc:sldMk cId="3585551903" sldId="1679"/>
            <ac:spMk id="39" creationId="{6C7F47A1-49E8-B1A3-E5A2-88D5023ACC93}"/>
          </ac:spMkLst>
        </pc:spChg>
        <pc:spChg chg="add mod">
          <ac:chgData name="Vikesh Chugani" userId="9c759398cfaae00f" providerId="LiveId" clId="{FDFDE13A-BCE0-40D0-8F0D-B0CE07A90C68}" dt="2025-08-28T07:11:36.541" v="7417" actId="1076"/>
          <ac:spMkLst>
            <pc:docMk/>
            <pc:sldMk cId="3585551903" sldId="1679"/>
            <ac:spMk id="40" creationId="{720AF257-599B-ACD4-3A2C-D7E84FF4D058}"/>
          </ac:spMkLst>
        </pc:spChg>
        <pc:spChg chg="add mod">
          <ac:chgData name="Vikesh Chugani" userId="9c759398cfaae00f" providerId="LiveId" clId="{FDFDE13A-BCE0-40D0-8F0D-B0CE07A90C68}" dt="2025-08-28T07:11:36.541" v="7417" actId="1076"/>
          <ac:spMkLst>
            <pc:docMk/>
            <pc:sldMk cId="3585551903" sldId="1679"/>
            <ac:spMk id="41" creationId="{BEE27402-4C7D-F43E-2780-C2E060334E49}"/>
          </ac:spMkLst>
        </pc:spChg>
        <pc:picChg chg="add del">
          <ac:chgData name="Vikesh Chugani" userId="9c759398cfaae00f" providerId="LiveId" clId="{FDFDE13A-BCE0-40D0-8F0D-B0CE07A90C68}" dt="2025-08-28T07:11:18.617" v="7414" actId="478"/>
          <ac:picMkLst>
            <pc:docMk/>
            <pc:sldMk cId="3585551903" sldId="1679"/>
            <ac:picMk id="9" creationId="{F3C54759-0FE7-4755-86B2-2D23F07F37C5}"/>
          </ac:picMkLst>
        </pc:picChg>
      </pc:sldChg>
      <pc:sldChg chg="addSp delSp modSp add mod modNotesTx">
        <pc:chgData name="Vikesh Chugani" userId="9c759398cfaae00f" providerId="LiveId" clId="{FDFDE13A-BCE0-40D0-8F0D-B0CE07A90C68}" dt="2025-08-28T07:49:32.912" v="8531" actId="20577"/>
        <pc:sldMkLst>
          <pc:docMk/>
          <pc:sldMk cId="1440722758" sldId="1768"/>
        </pc:sldMkLst>
        <pc:picChg chg="add mod">
          <ac:chgData name="Vikesh Chugani" userId="9c759398cfaae00f" providerId="LiveId" clId="{FDFDE13A-BCE0-40D0-8F0D-B0CE07A90C68}" dt="2025-08-28T07:42:30.904" v="7850" actId="14100"/>
          <ac:picMkLst>
            <pc:docMk/>
            <pc:sldMk cId="1440722758" sldId="1768"/>
            <ac:picMk id="2" creationId="{2E4FC3DF-AD61-D5A4-AFA6-84DA31C4BBD4}"/>
          </ac:picMkLst>
        </pc:picChg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4204641025" sldId="1768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2190620453" sldId="1819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629802703" sldId="1825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3793681604" sldId="1827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2942010989" sldId="1829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427085251" sldId="1830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1406811602" sldId="1831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2035558656" sldId="1848"/>
        </pc:sldMkLst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4163091949" sldId="1854"/>
        </pc:sldMkLst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325938766" sldId="1855"/>
        </pc:sldMkLst>
      </pc:sldChg>
      <pc:sldChg chg="add del ord">
        <pc:chgData name="Vikesh Chugani" userId="9c759398cfaae00f" providerId="LiveId" clId="{FDFDE13A-BCE0-40D0-8F0D-B0CE07A90C68}" dt="2025-08-28T08:49:40.159" v="9086"/>
        <pc:sldMkLst>
          <pc:docMk/>
          <pc:sldMk cId="2140972216" sldId="1857"/>
        </pc:sldMkLst>
      </pc:sldChg>
      <pc:sldChg chg="modSp add del mod ord modNotesTx">
        <pc:chgData name="Vikesh Chugani" userId="9c759398cfaae00f" providerId="LiveId" clId="{FDFDE13A-BCE0-40D0-8F0D-B0CE07A90C68}" dt="2025-08-28T08:49:40.159" v="9086"/>
        <pc:sldMkLst>
          <pc:docMk/>
          <pc:sldMk cId="4189467953" sldId="1858"/>
        </pc:sldMkLst>
        <pc:spChg chg="mod">
          <ac:chgData name="Vikesh Chugani" userId="9c759398cfaae00f" providerId="LiveId" clId="{FDFDE13A-BCE0-40D0-8F0D-B0CE07A90C68}" dt="2025-08-28T08:48:59.271" v="9081" actId="20577"/>
          <ac:spMkLst>
            <pc:docMk/>
            <pc:sldMk cId="4189467953" sldId="1858"/>
            <ac:spMk id="11" creationId="{00000000-0000-0000-0000-000000000000}"/>
          </ac:spMkLst>
        </pc:spChg>
        <pc:spChg chg="mod">
          <ac:chgData name="Vikesh Chugani" userId="9c759398cfaae00f" providerId="LiveId" clId="{FDFDE13A-BCE0-40D0-8F0D-B0CE07A90C68}" dt="2025-08-28T08:49:04.241" v="9082"/>
          <ac:spMkLst>
            <pc:docMk/>
            <pc:sldMk cId="4189467953" sldId="1858"/>
            <ac:spMk id="24" creationId="{00000000-0000-0000-0000-000000000000}"/>
          </ac:spMkLst>
        </pc:spChg>
        <pc:spChg chg="mod">
          <ac:chgData name="Vikesh Chugani" userId="9c759398cfaae00f" providerId="LiveId" clId="{FDFDE13A-BCE0-40D0-8F0D-B0CE07A90C68}" dt="2025-08-28T08:49:06.064" v="9083"/>
          <ac:spMkLst>
            <pc:docMk/>
            <pc:sldMk cId="4189467953" sldId="1858"/>
            <ac:spMk id="28" creationId="{00000000-0000-0000-0000-000000000000}"/>
          </ac:spMkLst>
        </pc:spChg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4163038130" sldId="1882"/>
        </pc:sldMkLst>
      </pc:sldChg>
      <pc:sldChg chg="del">
        <pc:chgData name="Vikesh Chugani" userId="9c759398cfaae00f" providerId="LiveId" clId="{FDFDE13A-BCE0-40D0-8F0D-B0CE07A90C68}" dt="2025-08-25T13:39:50.233" v="5424" actId="47"/>
        <pc:sldMkLst>
          <pc:docMk/>
          <pc:sldMk cId="1772530871" sldId="1886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2188383503" sldId="1888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717876491" sldId="1890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2017138224" sldId="1892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1485772295" sldId="1898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1681706587" sldId="1900"/>
        </pc:sldMkLst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2889919238" sldId="1904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83805420" sldId="1905"/>
        </pc:sldMkLst>
      </pc:sldChg>
      <pc:sldChg chg="modSp add del mod ord">
        <pc:chgData name="Vikesh Chugani" userId="9c759398cfaae00f" providerId="LiveId" clId="{FDFDE13A-BCE0-40D0-8F0D-B0CE07A90C68}" dt="2025-08-25T14:36:42.809" v="5709" actId="47"/>
        <pc:sldMkLst>
          <pc:docMk/>
          <pc:sldMk cId="1219596545" sldId="1907"/>
        </pc:sldMkLst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3282249227" sldId="1907"/>
        </pc:sldMkLst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1440722758" sldId="1908"/>
        </pc:sldMkLst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2884897252" sldId="1909"/>
        </pc:sldMkLst>
      </pc:sldChg>
      <pc:sldChg chg="addSp delSp modSp add del mod modNotesTx">
        <pc:chgData name="Vikesh Chugani" userId="9c759398cfaae00f" providerId="LiveId" clId="{FDFDE13A-BCE0-40D0-8F0D-B0CE07A90C68}" dt="2025-08-28T08:12:34.108" v="8872" actId="20577"/>
        <pc:sldMkLst>
          <pc:docMk/>
          <pc:sldMk cId="3365402031" sldId="1911"/>
        </pc:sldMkLst>
        <pc:spChg chg="mod">
          <ac:chgData name="Vikesh Chugani" userId="9c759398cfaae00f" providerId="LiveId" clId="{FDFDE13A-BCE0-40D0-8F0D-B0CE07A90C68}" dt="2025-08-28T08:07:46.543" v="8830" actId="108"/>
          <ac:spMkLst>
            <pc:docMk/>
            <pc:sldMk cId="3365402031" sldId="1911"/>
            <ac:spMk id="10" creationId="{B6131470-E0EC-C230-D865-069477CDB9A2}"/>
          </ac:spMkLst>
        </pc:spChg>
        <pc:spChg chg="mod">
          <ac:chgData name="Vikesh Chugani" userId="9c759398cfaae00f" providerId="LiveId" clId="{FDFDE13A-BCE0-40D0-8F0D-B0CE07A90C68}" dt="2025-08-28T08:08:45.806" v="8835" actId="20577"/>
          <ac:spMkLst>
            <pc:docMk/>
            <pc:sldMk cId="3365402031" sldId="1911"/>
            <ac:spMk id="15" creationId="{00000000-0000-0000-0000-000000000000}"/>
          </ac:spMkLst>
        </pc:spChg>
        <pc:spChg chg="mod">
          <ac:chgData name="Vikesh Chugani" userId="9c759398cfaae00f" providerId="LiveId" clId="{FDFDE13A-BCE0-40D0-8F0D-B0CE07A90C68}" dt="2025-08-28T08:10:22.343" v="8867" actId="14100"/>
          <ac:spMkLst>
            <pc:docMk/>
            <pc:sldMk cId="3365402031" sldId="1911"/>
            <ac:spMk id="21" creationId="{57BCE662-248C-8490-076B-97BDC69A39BB}"/>
          </ac:spMkLst>
        </pc:spChg>
        <pc:spChg chg="del mod">
          <ac:chgData name="Vikesh Chugani" userId="9c759398cfaae00f" providerId="LiveId" clId="{FDFDE13A-BCE0-40D0-8F0D-B0CE07A90C68}" dt="2025-08-28T08:08:32.802" v="8834" actId="478"/>
          <ac:spMkLst>
            <pc:docMk/>
            <pc:sldMk cId="3365402031" sldId="1911"/>
            <ac:spMk id="24" creationId="{00000000-0000-0000-0000-000000000000}"/>
          </ac:spMkLst>
        </pc:spChg>
        <pc:spChg chg="del mod">
          <ac:chgData name="Vikesh Chugani" userId="9c759398cfaae00f" providerId="LiveId" clId="{FDFDE13A-BCE0-40D0-8F0D-B0CE07A90C68}" dt="2025-08-28T08:08:31.242" v="8833" actId="478"/>
          <ac:spMkLst>
            <pc:docMk/>
            <pc:sldMk cId="3365402031" sldId="1911"/>
            <ac:spMk id="25" creationId="{00000000-0000-0000-0000-000000000000}"/>
          </ac:spMkLst>
        </pc:spChg>
        <pc:spChg chg="add mod">
          <ac:chgData name="Vikesh Chugani" userId="9c759398cfaae00f" providerId="LiveId" clId="{FDFDE13A-BCE0-40D0-8F0D-B0CE07A90C68}" dt="2025-08-28T08:08:12.958" v="8832" actId="14100"/>
          <ac:spMkLst>
            <pc:docMk/>
            <pc:sldMk cId="3365402031" sldId="1911"/>
            <ac:spMk id="34" creationId="{70F55411-B699-A3B1-8001-C87A6B145DE7}"/>
          </ac:spMkLst>
        </pc:spChg>
        <pc:spChg chg="add mod">
          <ac:chgData name="Vikesh Chugani" userId="9c759398cfaae00f" providerId="LiveId" clId="{FDFDE13A-BCE0-40D0-8F0D-B0CE07A90C68}" dt="2025-08-28T08:10:30.488" v="8869"/>
          <ac:spMkLst>
            <pc:docMk/>
            <pc:sldMk cId="3365402031" sldId="1911"/>
            <ac:spMk id="46" creationId="{920D76CC-B51D-B7CF-964D-63B2A4D893C7}"/>
          </ac:spMkLst>
        </pc:spChg>
        <pc:spChg chg="add mod">
          <ac:chgData name="Vikesh Chugani" userId="9c759398cfaae00f" providerId="LiveId" clId="{FDFDE13A-BCE0-40D0-8F0D-B0CE07A90C68}" dt="2025-08-28T08:12:06.790" v="8871" actId="1076"/>
          <ac:spMkLst>
            <pc:docMk/>
            <pc:sldMk cId="3365402031" sldId="1911"/>
            <ac:spMk id="55" creationId="{ECBC063C-D440-9B57-6F47-9E94DFC0206E}"/>
          </ac:spMkLst>
        </pc:spChg>
        <pc:spChg chg="add del mod">
          <ac:chgData name="Vikesh Chugani" userId="9c759398cfaae00f" providerId="LiveId" clId="{FDFDE13A-BCE0-40D0-8F0D-B0CE07A90C68}" dt="2025-08-28T08:10:34.017" v="8870" actId="478"/>
          <ac:spMkLst>
            <pc:docMk/>
            <pc:sldMk cId="3365402031" sldId="1911"/>
            <ac:spMk id="56" creationId="{36DCB997-78EE-B038-0AB9-714DBF973354}"/>
          </ac:spMkLst>
        </pc:spChg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815284837" sldId="1912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3582559601" sldId="1914"/>
        </pc:sldMkLst>
      </pc:sldChg>
      <pc:sldChg chg="del">
        <pc:chgData name="Vikesh Chugani" userId="9c759398cfaae00f" providerId="LiveId" clId="{FDFDE13A-BCE0-40D0-8F0D-B0CE07A90C68}" dt="2025-08-25T14:29:15.501" v="5696" actId="47"/>
        <pc:sldMkLst>
          <pc:docMk/>
          <pc:sldMk cId="2059764473" sldId="1915"/>
        </pc:sldMkLst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2521280247" sldId="1916"/>
        </pc:sldMkLst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3237365783" sldId="1918"/>
        </pc:sldMkLst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4210637564" sldId="1919"/>
        </pc:sldMkLst>
      </pc:sldChg>
      <pc:sldChg chg="del">
        <pc:chgData name="Vikesh Chugani" userId="9c759398cfaae00f" providerId="LiveId" clId="{FDFDE13A-BCE0-40D0-8F0D-B0CE07A90C68}" dt="2025-08-22T13:13:55.649" v="23" actId="2696"/>
        <pc:sldMkLst>
          <pc:docMk/>
          <pc:sldMk cId="1290931714" sldId="1920"/>
        </pc:sldMkLst>
      </pc:sldChg>
      <pc:sldChg chg="del">
        <pc:chgData name="Vikesh Chugani" userId="9c759398cfaae00f" providerId="LiveId" clId="{FDFDE13A-BCE0-40D0-8F0D-B0CE07A90C68}" dt="2025-08-25T14:29:14.965" v="5695" actId="47"/>
        <pc:sldMkLst>
          <pc:docMk/>
          <pc:sldMk cId="654855700" sldId="1921"/>
        </pc:sldMkLst>
      </pc:sldChg>
      <pc:sldChg chg="del">
        <pc:chgData name="Vikesh Chugani" userId="9c759398cfaae00f" providerId="LiveId" clId="{FDFDE13A-BCE0-40D0-8F0D-B0CE07A90C68}" dt="2025-08-22T13:14:20.050" v="24" actId="47"/>
        <pc:sldMkLst>
          <pc:docMk/>
          <pc:sldMk cId="4138292065" sldId="1923"/>
        </pc:sldMkLst>
      </pc:sldChg>
      <pc:sldChg chg="del">
        <pc:chgData name="Vikesh Chugani" userId="9c759398cfaae00f" providerId="LiveId" clId="{FDFDE13A-BCE0-40D0-8F0D-B0CE07A90C68}" dt="2025-08-25T13:40:22.882" v="5425" actId="47"/>
        <pc:sldMkLst>
          <pc:docMk/>
          <pc:sldMk cId="4136258358" sldId="1924"/>
        </pc:sldMkLst>
      </pc:sldChg>
      <pc:sldChg chg="add del ord">
        <pc:chgData name="Vikesh Chugani" userId="9c759398cfaae00f" providerId="LiveId" clId="{FDFDE13A-BCE0-40D0-8F0D-B0CE07A90C68}" dt="2025-08-25T13:39:50.233" v="5424" actId="47"/>
        <pc:sldMkLst>
          <pc:docMk/>
          <pc:sldMk cId="60193817" sldId="1925"/>
        </pc:sldMkLst>
      </pc:sldChg>
      <pc:sldChg chg="addSp delSp modSp new del mod ord">
        <pc:chgData name="Vikesh Chugani" userId="9c759398cfaae00f" providerId="LiveId" clId="{FDFDE13A-BCE0-40D0-8F0D-B0CE07A90C68}" dt="2025-08-28T06:58:44.652" v="6866" actId="47"/>
        <pc:sldMkLst>
          <pc:docMk/>
          <pc:sldMk cId="292400549" sldId="1926"/>
        </pc:sldMkLst>
      </pc:sldChg>
      <pc:sldChg chg="addSp delSp modSp add del mod ord">
        <pc:chgData name="Vikesh Chugani" userId="9c759398cfaae00f" providerId="LiveId" clId="{FDFDE13A-BCE0-40D0-8F0D-B0CE07A90C68}" dt="2025-08-25T13:39:50.233" v="5424" actId="47"/>
        <pc:sldMkLst>
          <pc:docMk/>
          <pc:sldMk cId="3432601007" sldId="1927"/>
        </pc:sldMkLst>
      </pc:sldChg>
      <pc:sldChg chg="addSp delSp modSp add del mod ord">
        <pc:chgData name="Vikesh Chugani" userId="9c759398cfaae00f" providerId="LiveId" clId="{FDFDE13A-BCE0-40D0-8F0D-B0CE07A90C68}" dt="2025-08-25T13:39:50.233" v="5424" actId="47"/>
        <pc:sldMkLst>
          <pc:docMk/>
          <pc:sldMk cId="573385681" sldId="1928"/>
        </pc:sldMkLst>
      </pc:sldChg>
      <pc:sldChg chg="add del ord">
        <pc:chgData name="Vikesh Chugani" userId="9c759398cfaae00f" providerId="LiveId" clId="{FDFDE13A-BCE0-40D0-8F0D-B0CE07A90C68}" dt="2025-08-25T13:39:50.233" v="5424" actId="47"/>
        <pc:sldMkLst>
          <pc:docMk/>
          <pc:sldMk cId="2671588357" sldId="1929"/>
        </pc:sldMkLst>
      </pc:sldChg>
      <pc:sldChg chg="addSp modSp add del mod">
        <pc:chgData name="Vikesh Chugani" userId="9c759398cfaae00f" providerId="LiveId" clId="{FDFDE13A-BCE0-40D0-8F0D-B0CE07A90C68}" dt="2025-08-25T13:39:50.233" v="5424" actId="47"/>
        <pc:sldMkLst>
          <pc:docMk/>
          <pc:sldMk cId="3697606607" sldId="1930"/>
        </pc:sldMkLst>
      </pc:sldChg>
      <pc:sldChg chg="delSp modSp add del mod">
        <pc:chgData name="Vikesh Chugani" userId="9c759398cfaae00f" providerId="LiveId" clId="{FDFDE13A-BCE0-40D0-8F0D-B0CE07A90C68}" dt="2025-08-25T13:39:50.233" v="5424" actId="47"/>
        <pc:sldMkLst>
          <pc:docMk/>
          <pc:sldMk cId="2703647224" sldId="2119"/>
        </pc:sldMkLst>
      </pc:sldChg>
      <pc:sldChg chg="add">
        <pc:chgData name="Vikesh Chugani" userId="9c759398cfaae00f" providerId="LiveId" clId="{FDFDE13A-BCE0-40D0-8F0D-B0CE07A90C68}" dt="2025-08-25T15:34:44.710" v="6751"/>
        <pc:sldMkLst>
          <pc:docMk/>
          <pc:sldMk cId="2976705604" sldId="2210"/>
        </pc:sldMkLst>
      </pc:sldChg>
      <pc:sldChg chg="modSp add del mod ord">
        <pc:chgData name="Vikesh Chugani" userId="9c759398cfaae00f" providerId="LiveId" clId="{FDFDE13A-BCE0-40D0-8F0D-B0CE07A90C68}" dt="2025-08-28T08:25:40.484" v="8890"/>
        <pc:sldMkLst>
          <pc:docMk/>
          <pc:sldMk cId="1190431398" sldId="2309"/>
        </pc:sldMkLst>
      </pc:sldChg>
      <pc:sldChg chg="new del">
        <pc:chgData name="Vikesh Chugani" userId="9c759398cfaae00f" providerId="LiveId" clId="{FDFDE13A-BCE0-40D0-8F0D-B0CE07A90C68}" dt="2025-08-25T14:19:23.819" v="5682" actId="680"/>
        <pc:sldMkLst>
          <pc:docMk/>
          <pc:sldMk cId="903254263" sldId="2310"/>
        </pc:sldMkLst>
      </pc:sldChg>
      <pc:sldChg chg="addSp delSp modSp add mod modNotesTx">
        <pc:chgData name="Vikesh Chugani" userId="9c759398cfaae00f" providerId="LiveId" clId="{FDFDE13A-BCE0-40D0-8F0D-B0CE07A90C68}" dt="2025-08-28T07:58:57.967" v="8711" actId="20577"/>
        <pc:sldMkLst>
          <pc:docMk/>
          <pc:sldMk cId="2034231181" sldId="2310"/>
        </pc:sldMkLst>
        <pc:spChg chg="add mod">
          <ac:chgData name="Vikesh Chugani" userId="9c759398cfaae00f" providerId="LiveId" clId="{FDFDE13A-BCE0-40D0-8F0D-B0CE07A90C68}" dt="2025-08-28T07:50:38.622" v="8562" actId="20577"/>
          <ac:spMkLst>
            <pc:docMk/>
            <pc:sldMk cId="2034231181" sldId="2310"/>
            <ac:spMk id="8" creationId="{F9CA7E69-57F3-9450-4902-81ACEEA74EE0}"/>
          </ac:spMkLst>
        </pc:spChg>
        <pc:spChg chg="add mod">
          <ac:chgData name="Vikesh Chugani" userId="9c759398cfaae00f" providerId="LiveId" clId="{FDFDE13A-BCE0-40D0-8F0D-B0CE07A90C68}" dt="2025-08-28T07:57:47.720" v="8603" actId="1076"/>
          <ac:spMkLst>
            <pc:docMk/>
            <pc:sldMk cId="2034231181" sldId="2310"/>
            <ac:spMk id="9" creationId="{124D3E97-4027-3A6C-3147-949D19A988C1}"/>
          </ac:spMkLst>
        </pc:spChg>
        <pc:spChg chg="add mod">
          <ac:chgData name="Vikesh Chugani" userId="9c759398cfaae00f" providerId="LiveId" clId="{FDFDE13A-BCE0-40D0-8F0D-B0CE07A90C68}" dt="2025-08-28T07:50:33.240" v="8548" actId="1076"/>
          <ac:spMkLst>
            <pc:docMk/>
            <pc:sldMk cId="2034231181" sldId="2310"/>
            <ac:spMk id="19" creationId="{F13A4464-DE30-85C8-B198-DAE57AE68613}"/>
          </ac:spMkLst>
        </pc:spChg>
        <pc:spChg chg="add mod">
          <ac:chgData name="Vikesh Chugani" userId="9c759398cfaae00f" providerId="LiveId" clId="{FDFDE13A-BCE0-40D0-8F0D-B0CE07A90C68}" dt="2025-08-28T07:50:24.958" v="8546" actId="1036"/>
          <ac:spMkLst>
            <pc:docMk/>
            <pc:sldMk cId="2034231181" sldId="2310"/>
            <ac:spMk id="27" creationId="{801AF39C-A41E-7519-DD2F-72919071B884}"/>
          </ac:spMkLst>
        </pc:spChg>
        <pc:spChg chg="add del mod">
          <ac:chgData name="Vikesh Chugani" userId="9c759398cfaae00f" providerId="LiveId" clId="{FDFDE13A-BCE0-40D0-8F0D-B0CE07A90C68}" dt="2025-08-28T07:50:24.958" v="8546" actId="1036"/>
          <ac:spMkLst>
            <pc:docMk/>
            <pc:sldMk cId="2034231181" sldId="2310"/>
            <ac:spMk id="29" creationId="{82400F0F-EFC9-505E-DBE8-C308AA9D16E1}"/>
          </ac:spMkLst>
        </pc:spChg>
        <pc:spChg chg="add mod">
          <ac:chgData name="Vikesh Chugani" userId="9c759398cfaae00f" providerId="LiveId" clId="{FDFDE13A-BCE0-40D0-8F0D-B0CE07A90C68}" dt="2025-08-28T07:56:03.838" v="8577" actId="1076"/>
          <ac:spMkLst>
            <pc:docMk/>
            <pc:sldMk cId="2034231181" sldId="2310"/>
            <ac:spMk id="47" creationId="{C4F0F3C6-5E32-B91C-1307-679DA32A2F65}"/>
          </ac:spMkLst>
        </pc:spChg>
        <pc:spChg chg="add mod">
          <ac:chgData name="Vikesh Chugani" userId="9c759398cfaae00f" providerId="LiveId" clId="{FDFDE13A-BCE0-40D0-8F0D-B0CE07A90C68}" dt="2025-08-28T07:50:24.958" v="8546" actId="1036"/>
          <ac:spMkLst>
            <pc:docMk/>
            <pc:sldMk cId="2034231181" sldId="2310"/>
            <ac:spMk id="48" creationId="{2ED40986-C693-1C1A-9451-F23FF36C86CA}"/>
          </ac:spMkLst>
        </pc:spChg>
        <pc:picChg chg="add mod">
          <ac:chgData name="Vikesh Chugani" userId="9c759398cfaae00f" providerId="LiveId" clId="{FDFDE13A-BCE0-40D0-8F0D-B0CE07A90C68}" dt="2025-08-28T07:42:35.662" v="7851"/>
          <ac:picMkLst>
            <pc:docMk/>
            <pc:sldMk cId="2034231181" sldId="2310"/>
            <ac:picMk id="6" creationId="{3C3DD994-83CF-048B-025D-AF39CA11FCAF}"/>
          </ac:picMkLst>
        </pc:picChg>
        <pc:picChg chg="add mod">
          <ac:chgData name="Vikesh Chugani" userId="9c759398cfaae00f" providerId="LiveId" clId="{FDFDE13A-BCE0-40D0-8F0D-B0CE07A90C68}" dt="2025-08-28T07:42:35.662" v="7851"/>
          <ac:picMkLst>
            <pc:docMk/>
            <pc:sldMk cId="2034231181" sldId="2310"/>
            <ac:picMk id="7" creationId="{1B05FC52-DBCC-5951-F2D1-320F14B36ACF}"/>
          </ac:picMkLst>
        </pc:picChg>
        <pc:picChg chg="add del mod">
          <ac:chgData name="Vikesh Chugani" userId="9c759398cfaae00f" providerId="LiveId" clId="{FDFDE13A-BCE0-40D0-8F0D-B0CE07A90C68}" dt="2025-08-28T07:50:47.390" v="8563" actId="478"/>
          <ac:picMkLst>
            <pc:docMk/>
            <pc:sldMk cId="2034231181" sldId="2310"/>
            <ac:picMk id="10" creationId="{4C95A998-3F19-B611-2F65-DD76F0EC3FF0}"/>
          </ac:picMkLst>
        </pc:picChg>
        <pc:picChg chg="add del mod">
          <ac:chgData name="Vikesh Chugani" userId="9c759398cfaae00f" providerId="LiveId" clId="{FDFDE13A-BCE0-40D0-8F0D-B0CE07A90C68}" dt="2025-08-28T07:50:47.869" v="8564" actId="478"/>
          <ac:picMkLst>
            <pc:docMk/>
            <pc:sldMk cId="2034231181" sldId="2310"/>
            <ac:picMk id="11" creationId="{6972824C-CAD9-8BCE-23C1-0AE1E81B9CDB}"/>
          </ac:picMkLst>
        </pc:picChg>
        <pc:picChg chg="add del mod">
          <ac:chgData name="Vikesh Chugani" userId="9c759398cfaae00f" providerId="LiveId" clId="{FDFDE13A-BCE0-40D0-8F0D-B0CE07A90C68}" dt="2025-08-28T07:50:50.727" v="8569" actId="478"/>
          <ac:picMkLst>
            <pc:docMk/>
            <pc:sldMk cId="2034231181" sldId="2310"/>
            <ac:picMk id="12" creationId="{FAC333EA-358C-B2A8-2F69-FF8F80D57965}"/>
          </ac:picMkLst>
        </pc:picChg>
        <pc:picChg chg="add del mod">
          <ac:chgData name="Vikesh Chugani" userId="9c759398cfaae00f" providerId="LiveId" clId="{FDFDE13A-BCE0-40D0-8F0D-B0CE07A90C68}" dt="2025-08-28T07:50:48.574" v="8565" actId="478"/>
          <ac:picMkLst>
            <pc:docMk/>
            <pc:sldMk cId="2034231181" sldId="2310"/>
            <ac:picMk id="13" creationId="{90CAB8C4-7A9E-9666-45B5-DDA3668B16AA}"/>
          </ac:picMkLst>
        </pc:picChg>
        <pc:picChg chg="add del mod">
          <ac:chgData name="Vikesh Chugani" userId="9c759398cfaae00f" providerId="LiveId" clId="{FDFDE13A-BCE0-40D0-8F0D-B0CE07A90C68}" dt="2025-08-28T07:50:51.245" v="8570" actId="478"/>
          <ac:picMkLst>
            <pc:docMk/>
            <pc:sldMk cId="2034231181" sldId="2310"/>
            <ac:picMk id="15" creationId="{655EF38C-6B1A-EBE0-AAB1-B35C73A285EE}"/>
          </ac:picMkLst>
        </pc:picChg>
        <pc:picChg chg="add del mod">
          <ac:chgData name="Vikesh Chugani" userId="9c759398cfaae00f" providerId="LiveId" clId="{FDFDE13A-BCE0-40D0-8F0D-B0CE07A90C68}" dt="2025-08-28T07:50:50.265" v="8568" actId="478"/>
          <ac:picMkLst>
            <pc:docMk/>
            <pc:sldMk cId="2034231181" sldId="2310"/>
            <ac:picMk id="16" creationId="{9575AC1C-FDCB-558B-C42A-266A4DF15BC3}"/>
          </ac:picMkLst>
        </pc:picChg>
        <pc:picChg chg="add del mod">
          <ac:chgData name="Vikesh Chugani" userId="9c759398cfaae00f" providerId="LiveId" clId="{FDFDE13A-BCE0-40D0-8F0D-B0CE07A90C68}" dt="2025-08-28T07:50:49.709" v="8567" actId="478"/>
          <ac:picMkLst>
            <pc:docMk/>
            <pc:sldMk cId="2034231181" sldId="2310"/>
            <ac:picMk id="17" creationId="{4277C37A-AE3E-C18B-D25A-0A00A9E98C24}"/>
          </ac:picMkLst>
        </pc:picChg>
        <pc:picChg chg="add del mod">
          <ac:chgData name="Vikesh Chugani" userId="9c759398cfaae00f" providerId="LiveId" clId="{FDFDE13A-BCE0-40D0-8F0D-B0CE07A90C68}" dt="2025-08-28T07:50:49.205" v="8566" actId="478"/>
          <ac:picMkLst>
            <pc:docMk/>
            <pc:sldMk cId="2034231181" sldId="2310"/>
            <ac:picMk id="18" creationId="{CC004193-0F6F-B748-DE28-B5466160707B}"/>
          </ac:picMkLst>
        </pc:picChg>
        <pc:picChg chg="add del mod">
          <ac:chgData name="Vikesh Chugani" userId="9c759398cfaae00f" providerId="LiveId" clId="{FDFDE13A-BCE0-40D0-8F0D-B0CE07A90C68}" dt="2025-08-28T07:57:57.261" v="8608" actId="478"/>
          <ac:picMkLst>
            <pc:docMk/>
            <pc:sldMk cId="2034231181" sldId="2310"/>
            <ac:picMk id="22" creationId="{75B580E9-2E77-A0FF-676C-7B5F1EE775E1}"/>
          </ac:picMkLst>
        </pc:picChg>
        <pc:picChg chg="add del mod">
          <ac:chgData name="Vikesh Chugani" userId="9c759398cfaae00f" providerId="LiveId" clId="{FDFDE13A-BCE0-40D0-8F0D-B0CE07A90C68}" dt="2025-08-28T07:57:56.173" v="8607" actId="478"/>
          <ac:picMkLst>
            <pc:docMk/>
            <pc:sldMk cId="2034231181" sldId="2310"/>
            <ac:picMk id="24" creationId="{BA3D5D5C-38C2-5D16-4007-C6D609B166E8}"/>
          </ac:picMkLst>
        </pc:picChg>
        <pc:picChg chg="add mod">
          <ac:chgData name="Vikesh Chugani" userId="9c759398cfaae00f" providerId="LiveId" clId="{FDFDE13A-BCE0-40D0-8F0D-B0CE07A90C68}" dt="2025-08-28T07:57:59.551" v="8609" actId="1076"/>
          <ac:picMkLst>
            <pc:docMk/>
            <pc:sldMk cId="2034231181" sldId="2310"/>
            <ac:picMk id="26" creationId="{90347AF2-6631-7DC0-1F40-5BEE0A28D9C4}"/>
          </ac:picMkLst>
        </pc:picChg>
        <pc:picChg chg="add mod">
          <ac:chgData name="Vikesh Chugani" userId="9c759398cfaae00f" providerId="LiveId" clId="{FDFDE13A-BCE0-40D0-8F0D-B0CE07A90C68}" dt="2025-08-28T07:50:24.958" v="8546" actId="1036"/>
          <ac:picMkLst>
            <pc:docMk/>
            <pc:sldMk cId="2034231181" sldId="2310"/>
            <ac:picMk id="55" creationId="{F67C33C9-FE3F-8FBE-1295-9AD996FBF000}"/>
          </ac:picMkLst>
        </pc:picChg>
        <pc:picChg chg="add mod">
          <ac:chgData name="Vikesh Chugani" userId="9c759398cfaae00f" providerId="LiveId" clId="{FDFDE13A-BCE0-40D0-8F0D-B0CE07A90C68}" dt="2025-08-28T07:50:24.958" v="8546" actId="1036"/>
          <ac:picMkLst>
            <pc:docMk/>
            <pc:sldMk cId="2034231181" sldId="2310"/>
            <ac:picMk id="56" creationId="{979F25D0-ACB6-BE26-4276-9F253098E9D0}"/>
          </ac:picMkLst>
        </pc:picChg>
      </pc:sldChg>
      <pc:sldChg chg="delSp modSp add del mod ord">
        <pc:chgData name="Vikesh Chugani" userId="9c759398cfaae00f" providerId="LiveId" clId="{FDFDE13A-BCE0-40D0-8F0D-B0CE07A90C68}" dt="2025-08-25T13:39:50.233" v="5424" actId="47"/>
        <pc:sldMkLst>
          <pc:docMk/>
          <pc:sldMk cId="3924169557" sldId="2310"/>
        </pc:sldMkLst>
      </pc:sldChg>
      <pc:sldChg chg="add del">
        <pc:chgData name="Vikesh Chugani" userId="9c759398cfaae00f" providerId="LiveId" clId="{FDFDE13A-BCE0-40D0-8F0D-B0CE07A90C68}" dt="2025-08-25T13:39:50.233" v="5424" actId="47"/>
        <pc:sldMkLst>
          <pc:docMk/>
          <pc:sldMk cId="2461921818" sldId="2311"/>
        </pc:sldMkLst>
      </pc:sldChg>
      <pc:sldChg chg="new del">
        <pc:chgData name="Vikesh Chugani" userId="9c759398cfaae00f" providerId="LiveId" clId="{FDFDE13A-BCE0-40D0-8F0D-B0CE07A90C68}" dt="2025-08-22T13:39:33.063" v="89" actId="680"/>
        <pc:sldMkLst>
          <pc:docMk/>
          <pc:sldMk cId="291514047" sldId="2312"/>
        </pc:sldMkLst>
      </pc:sldChg>
      <pc:sldChg chg="addSp delSp modSp add del mod">
        <pc:chgData name="Vikesh Chugani" userId="9c759398cfaae00f" providerId="LiveId" clId="{FDFDE13A-BCE0-40D0-8F0D-B0CE07A90C68}" dt="2025-08-22T13:44:44.954" v="3706" actId="47"/>
        <pc:sldMkLst>
          <pc:docMk/>
          <pc:sldMk cId="420097453" sldId="2312"/>
        </pc:sldMkLst>
      </pc:sldChg>
      <pc:sldChg chg="add del ord">
        <pc:chgData name="Vikesh Chugani" userId="9c759398cfaae00f" providerId="LiveId" clId="{FDFDE13A-BCE0-40D0-8F0D-B0CE07A90C68}" dt="2025-08-25T13:39:50.233" v="5424" actId="47"/>
        <pc:sldMkLst>
          <pc:docMk/>
          <pc:sldMk cId="1378577983" sldId="2312"/>
        </pc:sldMkLst>
      </pc:sldChg>
      <pc:sldChg chg="delSp add del mod">
        <pc:chgData name="Vikesh Chugani" userId="9c759398cfaae00f" providerId="LiveId" clId="{FDFDE13A-BCE0-40D0-8F0D-B0CE07A90C68}" dt="2025-08-25T13:39:50.233" v="5424" actId="47"/>
        <pc:sldMkLst>
          <pc:docMk/>
          <pc:sldMk cId="1985130692" sldId="2313"/>
        </pc:sldMkLst>
      </pc:sldChg>
      <pc:sldChg chg="add del">
        <pc:chgData name="Vikesh Chugani" userId="9c759398cfaae00f" providerId="LiveId" clId="{FDFDE13A-BCE0-40D0-8F0D-B0CE07A90C68}" dt="2025-08-25T13:39:50.233" v="5424" actId="47"/>
        <pc:sldMkLst>
          <pc:docMk/>
          <pc:sldMk cId="3301658253" sldId="2314"/>
        </pc:sldMkLst>
      </pc:sldChg>
      <pc:sldChg chg="add del">
        <pc:chgData name="Vikesh Chugani" userId="9c759398cfaae00f" providerId="LiveId" clId="{FDFDE13A-BCE0-40D0-8F0D-B0CE07A90C68}" dt="2025-08-25T13:39:50.233" v="5424" actId="47"/>
        <pc:sldMkLst>
          <pc:docMk/>
          <pc:sldMk cId="2555687475" sldId="2315"/>
        </pc:sldMkLst>
      </pc:sldChg>
      <pc:sldChg chg="addSp delSp modSp add mod modNotesTx">
        <pc:chgData name="Vikesh Chugani" userId="9c759398cfaae00f" providerId="LiveId" clId="{FDFDE13A-BCE0-40D0-8F0D-B0CE07A90C68}" dt="2025-08-28T07:02:35.693" v="7351" actId="20577"/>
        <pc:sldMkLst>
          <pc:docMk/>
          <pc:sldMk cId="2628195781" sldId="2316"/>
        </pc:sldMkLst>
        <pc:spChg chg="add mod">
          <ac:chgData name="Vikesh Chugani" userId="9c759398cfaae00f" providerId="LiveId" clId="{FDFDE13A-BCE0-40D0-8F0D-B0CE07A90C68}" dt="2025-08-28T06:59:04.392" v="6868" actId="1076"/>
          <ac:spMkLst>
            <pc:docMk/>
            <pc:sldMk cId="2628195781" sldId="2316"/>
            <ac:spMk id="16" creationId="{E4247680-2F47-FC0F-A7E6-9A8EEA8FF9B1}"/>
          </ac:spMkLst>
        </pc:spChg>
        <pc:spChg chg="add mod">
          <ac:chgData name="Vikesh Chugani" userId="9c759398cfaae00f" providerId="LiveId" clId="{FDFDE13A-BCE0-40D0-8F0D-B0CE07A90C68}" dt="2025-08-28T07:00:26.463" v="6972" actId="20577"/>
          <ac:spMkLst>
            <pc:docMk/>
            <pc:sldMk cId="2628195781" sldId="2316"/>
            <ac:spMk id="17" creationId="{C314824A-BDA4-59ED-DE53-964B55B8EAE2}"/>
          </ac:spMkLst>
        </pc:spChg>
        <pc:spChg chg="add mod">
          <ac:chgData name="Vikesh Chugani" userId="9c759398cfaae00f" providerId="LiveId" clId="{FDFDE13A-BCE0-40D0-8F0D-B0CE07A90C68}" dt="2025-08-28T07:00:14.492" v="6963" actId="20577"/>
          <ac:spMkLst>
            <pc:docMk/>
            <pc:sldMk cId="2628195781" sldId="2316"/>
            <ac:spMk id="18" creationId="{A03F8D89-61C5-B982-D21C-A34652D1963E}"/>
          </ac:spMkLst>
        </pc:spChg>
        <pc:picChg chg="add del mod">
          <ac:chgData name="Vikesh Chugani" userId="9c759398cfaae00f" providerId="LiveId" clId="{FDFDE13A-BCE0-40D0-8F0D-B0CE07A90C68}" dt="2025-08-28T07:00:31.432" v="6973" actId="478"/>
          <ac:picMkLst>
            <pc:docMk/>
            <pc:sldMk cId="2628195781" sldId="2316"/>
            <ac:picMk id="22" creationId="{D05786E6-C7BE-F6CF-5B54-C78BED064163}"/>
          </ac:picMkLst>
        </pc:picChg>
        <pc:picChg chg="add mod">
          <ac:chgData name="Vikesh Chugani" userId="9c759398cfaae00f" providerId="LiveId" clId="{FDFDE13A-BCE0-40D0-8F0D-B0CE07A90C68}" dt="2025-08-28T07:00:45.806" v="6978" actId="14100"/>
          <ac:picMkLst>
            <pc:docMk/>
            <pc:sldMk cId="2628195781" sldId="2316"/>
            <ac:picMk id="23" creationId="{1371D542-E16B-FD72-48CE-6EA3D80524C8}"/>
          </ac:picMkLst>
        </pc:picChg>
      </pc:sldChg>
      <pc:sldChg chg="add del">
        <pc:chgData name="Vikesh Chugani" userId="9c759398cfaae00f" providerId="LiveId" clId="{FDFDE13A-BCE0-40D0-8F0D-B0CE07A90C68}" dt="2025-08-28T07:14:28.022" v="7478" actId="47"/>
        <pc:sldMkLst>
          <pc:docMk/>
          <pc:sldMk cId="3264265955" sldId="2317"/>
        </pc:sldMkLst>
      </pc:sldChg>
      <pc:sldChg chg="modSp add mod ord">
        <pc:chgData name="Vikesh Chugani" userId="9c759398cfaae00f" providerId="LiveId" clId="{FDFDE13A-BCE0-40D0-8F0D-B0CE07A90C68}" dt="2025-08-28T08:07:20.040" v="8828" actId="20577"/>
        <pc:sldMkLst>
          <pc:docMk/>
          <pc:sldMk cId="1298207943" sldId="2334"/>
        </pc:sldMkLst>
        <pc:spChg chg="mod">
          <ac:chgData name="Vikesh Chugani" userId="9c759398cfaae00f" providerId="LiveId" clId="{FDFDE13A-BCE0-40D0-8F0D-B0CE07A90C68}" dt="2025-08-28T07:12:59.816" v="7447"/>
          <ac:spMkLst>
            <pc:docMk/>
            <pc:sldMk cId="1298207943" sldId="2334"/>
            <ac:spMk id="4" creationId="{4D6569F9-2FA2-21E2-8033-2CCC6C1B1B95}"/>
          </ac:spMkLst>
        </pc:spChg>
        <pc:spChg chg="mod">
          <ac:chgData name="Vikesh Chugani" userId="9c759398cfaae00f" providerId="LiveId" clId="{FDFDE13A-BCE0-40D0-8F0D-B0CE07A90C68}" dt="2025-08-28T08:07:20.040" v="8828" actId="20577"/>
          <ac:spMkLst>
            <pc:docMk/>
            <pc:sldMk cId="1298207943" sldId="2334"/>
            <ac:spMk id="5" creationId="{1D58BCF1-BCAE-0F1A-3D84-D7846A45D5AA}"/>
          </ac:spMkLst>
        </pc:spChg>
        <pc:spChg chg="mod">
          <ac:chgData name="Vikesh Chugani" userId="9c759398cfaae00f" providerId="LiveId" clId="{FDFDE13A-BCE0-40D0-8F0D-B0CE07A90C68}" dt="2025-08-28T07:12:17.361" v="7426" actId="113"/>
          <ac:spMkLst>
            <pc:docMk/>
            <pc:sldMk cId="1298207943" sldId="2334"/>
            <ac:spMk id="8" creationId="{16257C56-C7DA-ED35-817F-9CD230E17CF5}"/>
          </ac:spMkLst>
        </pc:spChg>
        <pc:spChg chg="mod">
          <ac:chgData name="Vikesh Chugani" userId="9c759398cfaae00f" providerId="LiveId" clId="{FDFDE13A-BCE0-40D0-8F0D-B0CE07A90C68}" dt="2025-08-28T08:07:12.086" v="8817" actId="207"/>
          <ac:spMkLst>
            <pc:docMk/>
            <pc:sldMk cId="1298207943" sldId="2334"/>
            <ac:spMk id="21" creationId="{F6F7D687-3B13-ECD6-03B6-6AF6C7ED9AAE}"/>
          </ac:spMkLst>
        </pc:spChg>
        <pc:spChg chg="mod">
          <ac:chgData name="Vikesh Chugani" userId="9c759398cfaae00f" providerId="LiveId" clId="{FDFDE13A-BCE0-40D0-8F0D-B0CE07A90C68}" dt="2025-08-28T08:07:12.086" v="8817" actId="207"/>
          <ac:spMkLst>
            <pc:docMk/>
            <pc:sldMk cId="1298207943" sldId="2334"/>
            <ac:spMk id="80" creationId="{6F1959A4-D518-EB4B-3CBA-EE6889FE63DF}"/>
          </ac:spMkLst>
        </pc:spChg>
        <pc:spChg chg="mod">
          <ac:chgData name="Vikesh Chugani" userId="9c759398cfaae00f" providerId="LiveId" clId="{FDFDE13A-BCE0-40D0-8F0D-B0CE07A90C68}" dt="2025-08-28T07:13:10.909" v="7455" actId="20577"/>
          <ac:spMkLst>
            <pc:docMk/>
            <pc:sldMk cId="1298207943" sldId="2334"/>
            <ac:spMk id="93" creationId="{BBD0D016-944D-80AE-81FA-C752CA629913}"/>
          </ac:spMkLst>
        </pc:spChg>
        <pc:spChg chg="mod">
          <ac:chgData name="Vikesh Chugani" userId="9c759398cfaae00f" providerId="LiveId" clId="{FDFDE13A-BCE0-40D0-8F0D-B0CE07A90C68}" dt="2025-08-28T07:13:16.827" v="7464" actId="20577"/>
          <ac:spMkLst>
            <pc:docMk/>
            <pc:sldMk cId="1298207943" sldId="2334"/>
            <ac:spMk id="95" creationId="{CA552515-5994-192B-9FA2-89FD9F656594}"/>
          </ac:spMkLst>
        </pc:spChg>
        <pc:spChg chg="mod">
          <ac:chgData name="Vikesh Chugani" userId="9c759398cfaae00f" providerId="LiveId" clId="{FDFDE13A-BCE0-40D0-8F0D-B0CE07A90C68}" dt="2025-08-28T07:13:25.047" v="7474" actId="20577"/>
          <ac:spMkLst>
            <pc:docMk/>
            <pc:sldMk cId="1298207943" sldId="2334"/>
            <ac:spMk id="96" creationId="{18426E41-72E8-7BDF-7734-608491645878}"/>
          </ac:spMkLst>
        </pc:spChg>
        <pc:spChg chg="mod">
          <ac:chgData name="Vikesh Chugani" userId="9c759398cfaae00f" providerId="LiveId" clId="{FDFDE13A-BCE0-40D0-8F0D-B0CE07A90C68}" dt="2025-08-28T07:12:31.519" v="7433" actId="20577"/>
          <ac:spMkLst>
            <pc:docMk/>
            <pc:sldMk cId="1298207943" sldId="2334"/>
            <ac:spMk id="101" creationId="{9854F6F3-2193-AE14-D033-C96E3028DD1E}"/>
          </ac:spMkLst>
        </pc:spChg>
        <pc:grpChg chg="mod">
          <ac:chgData name="Vikesh Chugani" userId="9c759398cfaae00f" providerId="LiveId" clId="{FDFDE13A-BCE0-40D0-8F0D-B0CE07A90C68}" dt="2025-08-28T08:07:12.086" v="8817" actId="207"/>
          <ac:grpSpMkLst>
            <pc:docMk/>
            <pc:sldMk cId="1298207943" sldId="2334"/>
            <ac:grpSpMk id="20" creationId="{9F8828B4-6EB9-776C-8411-20787FC5D598}"/>
          </ac:grpSpMkLst>
        </pc:grpChg>
        <pc:graphicFrameChg chg="mod">
          <ac:chgData name="Vikesh Chugani" userId="9c759398cfaae00f" providerId="LiveId" clId="{FDFDE13A-BCE0-40D0-8F0D-B0CE07A90C68}" dt="2025-08-28T07:11:48.429" v="7421"/>
          <ac:graphicFrameMkLst>
            <pc:docMk/>
            <pc:sldMk cId="1298207943" sldId="2334"/>
            <ac:graphicFrameMk id="2" creationId="{ACFDFEA1-CDA2-71C4-C0FA-B5017AC350D1}"/>
          </ac:graphicFrameMkLst>
        </pc:graphicFrameChg>
      </pc:sldChg>
      <pc:sldChg chg="add del">
        <pc:chgData name="Vikesh Chugani" userId="9c759398cfaae00f" providerId="LiveId" clId="{FDFDE13A-BCE0-40D0-8F0D-B0CE07A90C68}" dt="2025-08-28T08:47:58.360" v="9005" actId="47"/>
        <pc:sldMkLst>
          <pc:docMk/>
          <pc:sldMk cId="1531176897" sldId="2335"/>
        </pc:sldMkLst>
      </pc:sldChg>
      <pc:sldChg chg="addSp modSp add mod">
        <pc:chgData name="Vikesh Chugani" userId="9c759398cfaae00f" providerId="LiveId" clId="{FDFDE13A-BCE0-40D0-8F0D-B0CE07A90C68}" dt="2025-08-28T08:21:17.073" v="8879" actId="207"/>
        <pc:sldMkLst>
          <pc:docMk/>
          <pc:sldMk cId="3214390111" sldId="2336"/>
        </pc:sldMkLst>
        <pc:spChg chg="add mod">
          <ac:chgData name="Vikesh Chugani" userId="9c759398cfaae00f" providerId="LiveId" clId="{FDFDE13A-BCE0-40D0-8F0D-B0CE07A90C68}" dt="2025-08-28T08:20:47.199" v="8875"/>
          <ac:spMkLst>
            <pc:docMk/>
            <pc:sldMk cId="3214390111" sldId="2336"/>
            <ac:spMk id="5" creationId="{B4029F97-E698-92F5-FA06-875CB508156E}"/>
          </ac:spMkLst>
        </pc:spChg>
        <pc:spChg chg="mod">
          <ac:chgData name="Vikesh Chugani" userId="9c759398cfaae00f" providerId="LiveId" clId="{FDFDE13A-BCE0-40D0-8F0D-B0CE07A90C68}" dt="2025-08-28T08:20:40.995" v="8874" actId="108"/>
          <ac:spMkLst>
            <pc:docMk/>
            <pc:sldMk cId="3214390111" sldId="2336"/>
            <ac:spMk id="10" creationId="{9DBBC4D5-6164-75AE-FC2D-3E19372D72EA}"/>
          </ac:spMkLst>
        </pc:spChg>
        <pc:spChg chg="add mod">
          <ac:chgData name="Vikesh Chugani" userId="9c759398cfaae00f" providerId="LiveId" clId="{FDFDE13A-BCE0-40D0-8F0D-B0CE07A90C68}" dt="2025-08-28T08:21:17.073" v="8879" actId="207"/>
          <ac:spMkLst>
            <pc:docMk/>
            <pc:sldMk cId="3214390111" sldId="2336"/>
            <ac:spMk id="13" creationId="{656270C6-3143-C1D0-CA2C-84C407F61C76}"/>
          </ac:spMkLst>
        </pc:spChg>
      </pc:sldChg>
      <pc:sldChg chg="new del">
        <pc:chgData name="Vikesh Chugani" userId="9c759398cfaae00f" providerId="LiveId" clId="{FDFDE13A-BCE0-40D0-8F0D-B0CE07A90C68}" dt="2025-08-28T08:24:43.319" v="8884" actId="47"/>
        <pc:sldMkLst>
          <pc:docMk/>
          <pc:sldMk cId="1237857034" sldId="2337"/>
        </pc:sldMkLst>
      </pc:sldChg>
      <pc:sldChg chg="addSp delSp modSp add mod">
        <pc:chgData name="Vikesh Chugani" userId="9c759398cfaae00f" providerId="LiveId" clId="{FDFDE13A-BCE0-40D0-8F0D-B0CE07A90C68}" dt="2025-08-28T08:47:24.610" v="9004"/>
        <pc:sldMkLst>
          <pc:docMk/>
          <pc:sldMk cId="2483642181" sldId="2363"/>
        </pc:sldMkLst>
        <pc:spChg chg="mod">
          <ac:chgData name="Vikesh Chugani" userId="9c759398cfaae00f" providerId="LiveId" clId="{FDFDE13A-BCE0-40D0-8F0D-B0CE07A90C68}" dt="2025-08-28T08:35:05.727" v="8937"/>
          <ac:spMkLst>
            <pc:docMk/>
            <pc:sldMk cId="2483642181" sldId="2363"/>
            <ac:spMk id="3" creationId="{277A5CE4-C336-B3B2-C174-8069652D7689}"/>
          </ac:spMkLst>
        </pc:spChg>
        <pc:spChg chg="mod">
          <ac:chgData name="Vikesh Chugani" userId="9c759398cfaae00f" providerId="LiveId" clId="{FDFDE13A-BCE0-40D0-8F0D-B0CE07A90C68}" dt="2025-08-28T08:35:20.648" v="8940" actId="20577"/>
          <ac:spMkLst>
            <pc:docMk/>
            <pc:sldMk cId="2483642181" sldId="2363"/>
            <ac:spMk id="4" creationId="{0BDDBC7B-125E-80D0-F113-7E9B81F78C35}"/>
          </ac:spMkLst>
        </pc:spChg>
        <pc:spChg chg="mod">
          <ac:chgData name="Vikesh Chugani" userId="9c759398cfaae00f" providerId="LiveId" clId="{FDFDE13A-BCE0-40D0-8F0D-B0CE07A90C68}" dt="2025-08-28T08:25:01.523" v="8887" actId="20577"/>
          <ac:spMkLst>
            <pc:docMk/>
            <pc:sldMk cId="2483642181" sldId="2363"/>
            <ac:spMk id="5" creationId="{805336C0-EE3B-FD3D-5372-FCC1A7F37C33}"/>
          </ac:spMkLst>
        </pc:spChg>
        <pc:spChg chg="mod">
          <ac:chgData name="Vikesh Chugani" userId="9c759398cfaae00f" providerId="LiveId" clId="{FDFDE13A-BCE0-40D0-8F0D-B0CE07A90C68}" dt="2025-08-28T08:46:31.364" v="9001" actId="20577"/>
          <ac:spMkLst>
            <pc:docMk/>
            <pc:sldMk cId="2483642181" sldId="2363"/>
            <ac:spMk id="7" creationId="{5805023F-3F7F-B659-6E57-AC1619FA7F36}"/>
          </ac:spMkLst>
        </pc:spChg>
        <pc:spChg chg="mod">
          <ac:chgData name="Vikesh Chugani" userId="9c759398cfaae00f" providerId="LiveId" clId="{FDFDE13A-BCE0-40D0-8F0D-B0CE07A90C68}" dt="2025-08-28T08:24:52.287" v="8885"/>
          <ac:spMkLst>
            <pc:docMk/>
            <pc:sldMk cId="2483642181" sldId="2363"/>
            <ac:spMk id="9" creationId="{B3FA773A-CB73-035C-8C9D-E871A00AF012}"/>
          </ac:spMkLst>
        </pc:spChg>
        <pc:spChg chg="mod">
          <ac:chgData name="Vikesh Chugani" userId="9c759398cfaae00f" providerId="LiveId" clId="{FDFDE13A-BCE0-40D0-8F0D-B0CE07A90C68}" dt="2025-08-28T08:45:05.756" v="8992" actId="6549"/>
          <ac:spMkLst>
            <pc:docMk/>
            <pc:sldMk cId="2483642181" sldId="2363"/>
            <ac:spMk id="11" creationId="{B6144D10-74DF-CD5C-1B94-D2B6E93CE142}"/>
          </ac:spMkLst>
        </pc:spChg>
        <pc:spChg chg="mod">
          <ac:chgData name="Vikesh Chugani" userId="9c759398cfaae00f" providerId="LiveId" clId="{FDFDE13A-BCE0-40D0-8F0D-B0CE07A90C68}" dt="2025-08-28T08:25:13.608" v="8888"/>
          <ac:spMkLst>
            <pc:docMk/>
            <pc:sldMk cId="2483642181" sldId="2363"/>
            <ac:spMk id="26" creationId="{EB499627-C111-D4D7-FEEC-68B517E8C90F}"/>
          </ac:spMkLst>
        </pc:spChg>
        <pc:spChg chg="mod">
          <ac:chgData name="Vikesh Chugani" userId="9c759398cfaae00f" providerId="LiveId" clId="{FDFDE13A-BCE0-40D0-8F0D-B0CE07A90C68}" dt="2025-08-28T08:47:24.610" v="9004"/>
          <ac:spMkLst>
            <pc:docMk/>
            <pc:sldMk cId="2483642181" sldId="2363"/>
            <ac:spMk id="28" creationId="{79525B81-F0E1-5D05-A058-B9E67F9E880C}"/>
          </ac:spMkLst>
        </pc:spChg>
        <pc:grpChg chg="add del">
          <ac:chgData name="Vikesh Chugani" userId="9c759398cfaae00f" providerId="LiveId" clId="{FDFDE13A-BCE0-40D0-8F0D-B0CE07A90C68}" dt="2025-08-28T08:25:46.888" v="8893" actId="478"/>
          <ac:grpSpMkLst>
            <pc:docMk/>
            <pc:sldMk cId="2483642181" sldId="2363"/>
            <ac:grpSpMk id="8" creationId="{59CE9979-9355-E40D-2BEE-4C3E733030BA}"/>
          </ac:grpSpMkLst>
        </pc:grpChg>
        <pc:graphicFrameChg chg="mod">
          <ac:chgData name="Vikesh Chugani" userId="9c759398cfaae00f" providerId="LiveId" clId="{FDFDE13A-BCE0-40D0-8F0D-B0CE07A90C68}" dt="2025-08-28T08:24:39.849" v="8883"/>
          <ac:graphicFrameMkLst>
            <pc:docMk/>
            <pc:sldMk cId="2483642181" sldId="2363"/>
            <ac:graphicFrameMk id="18" creationId="{D87AFD59-D0E0-28C9-2DE0-A1021CE3CA1C}"/>
          </ac:graphicFrameMkLst>
        </pc:graphicFrameChg>
        <pc:picChg chg="del">
          <ac:chgData name="Vikesh Chugani" userId="9c759398cfaae00f" providerId="LiveId" clId="{FDFDE13A-BCE0-40D0-8F0D-B0CE07A90C68}" dt="2025-08-28T08:29:56.836" v="8902" actId="478"/>
          <ac:picMkLst>
            <pc:docMk/>
            <pc:sldMk cId="2483642181" sldId="2363"/>
            <ac:picMk id="12" creationId="{AB84EB54-F359-224C-8EB1-28A5A3369BD3}"/>
          </ac:picMkLst>
        </pc:picChg>
        <pc:picChg chg="del">
          <ac:chgData name="Vikesh Chugani" userId="9c759398cfaae00f" providerId="LiveId" clId="{FDFDE13A-BCE0-40D0-8F0D-B0CE07A90C68}" dt="2025-08-28T08:29:57.316" v="8903" actId="478"/>
          <ac:picMkLst>
            <pc:docMk/>
            <pc:sldMk cId="2483642181" sldId="2363"/>
            <ac:picMk id="13" creationId="{51D446F2-5E08-904A-12D8-DC83DFBE9018}"/>
          </ac:picMkLst>
        </pc:picChg>
        <pc:picChg chg="del">
          <ac:chgData name="Vikesh Chugani" userId="9c759398cfaae00f" providerId="LiveId" clId="{FDFDE13A-BCE0-40D0-8F0D-B0CE07A90C68}" dt="2025-08-28T08:29:57.731" v="8904" actId="478"/>
          <ac:picMkLst>
            <pc:docMk/>
            <pc:sldMk cId="2483642181" sldId="2363"/>
            <ac:picMk id="14" creationId="{74BAF208-9B00-88CE-1ACE-024E343893E3}"/>
          </ac:picMkLst>
        </pc:picChg>
        <pc:picChg chg="del">
          <ac:chgData name="Vikesh Chugani" userId="9c759398cfaae00f" providerId="LiveId" clId="{FDFDE13A-BCE0-40D0-8F0D-B0CE07A90C68}" dt="2025-08-28T08:29:59.077" v="8906" actId="478"/>
          <ac:picMkLst>
            <pc:docMk/>
            <pc:sldMk cId="2483642181" sldId="2363"/>
            <ac:picMk id="15" creationId="{2CE323C3-A86D-5C66-4E83-370B35EA9297}"/>
          </ac:picMkLst>
        </pc:picChg>
        <pc:picChg chg="del">
          <ac:chgData name="Vikesh Chugani" userId="9c759398cfaae00f" providerId="LiveId" clId="{FDFDE13A-BCE0-40D0-8F0D-B0CE07A90C68}" dt="2025-08-28T08:29:58.492" v="8905" actId="478"/>
          <ac:picMkLst>
            <pc:docMk/>
            <pc:sldMk cId="2483642181" sldId="2363"/>
            <ac:picMk id="16" creationId="{BBD26705-BD56-E2CF-7AA5-9D0A17D62014}"/>
          </ac:picMkLst>
        </pc:picChg>
        <pc:picChg chg="add mod">
          <ac:chgData name="Vikesh Chugani" userId="9c759398cfaae00f" providerId="LiveId" clId="{FDFDE13A-BCE0-40D0-8F0D-B0CE07A90C68}" dt="2025-08-28T08:25:56.175" v="8901" actId="1076"/>
          <ac:picMkLst>
            <pc:docMk/>
            <pc:sldMk cId="2483642181" sldId="2363"/>
            <ac:picMk id="17" creationId="{B8F8B50A-0409-1F04-1350-CE7FDF2AD1F9}"/>
          </ac:picMkLst>
        </pc:picChg>
        <pc:picChg chg="del">
          <ac:chgData name="Vikesh Chugani" userId="9c759398cfaae00f" providerId="LiveId" clId="{FDFDE13A-BCE0-40D0-8F0D-B0CE07A90C68}" dt="2025-08-28T08:25:45.064" v="8891" actId="478"/>
          <ac:picMkLst>
            <pc:docMk/>
            <pc:sldMk cId="2483642181" sldId="2363"/>
            <ac:picMk id="19" creationId="{BBF72D64-11C9-6CBB-9A3A-BBCCC9777A21}"/>
          </ac:picMkLst>
        </pc:picChg>
        <pc:picChg chg="add mod">
          <ac:chgData name="Vikesh Chugani" userId="9c759398cfaae00f" providerId="LiveId" clId="{FDFDE13A-BCE0-40D0-8F0D-B0CE07A90C68}" dt="2025-08-28T08:25:56.175" v="8901" actId="1076"/>
          <ac:picMkLst>
            <pc:docMk/>
            <pc:sldMk cId="2483642181" sldId="2363"/>
            <ac:picMk id="20" creationId="{426C3B83-C2B0-5E7E-0B5D-F245FAA5F23C}"/>
          </ac:picMkLst>
        </pc:picChg>
        <pc:picChg chg="add mod">
          <ac:chgData name="Vikesh Chugani" userId="9c759398cfaae00f" providerId="LiveId" clId="{FDFDE13A-BCE0-40D0-8F0D-B0CE07A90C68}" dt="2025-08-28T08:25:56.175" v="8901" actId="1076"/>
          <ac:picMkLst>
            <pc:docMk/>
            <pc:sldMk cId="2483642181" sldId="2363"/>
            <ac:picMk id="21" creationId="{05A3BFA6-3893-4488-F7B0-1A0A9A61CAAD}"/>
          </ac:picMkLst>
        </pc:picChg>
        <pc:picChg chg="add mod">
          <ac:chgData name="Vikesh Chugani" userId="9c759398cfaae00f" providerId="LiveId" clId="{FDFDE13A-BCE0-40D0-8F0D-B0CE07A90C68}" dt="2025-08-28T08:25:56.175" v="8901" actId="1076"/>
          <ac:picMkLst>
            <pc:docMk/>
            <pc:sldMk cId="2483642181" sldId="2363"/>
            <ac:picMk id="22" creationId="{E24213BC-B124-7131-B1D0-38E655059613}"/>
          </ac:picMkLst>
        </pc:picChg>
        <pc:picChg chg="del">
          <ac:chgData name="Vikesh Chugani" userId="9c759398cfaae00f" providerId="LiveId" clId="{FDFDE13A-BCE0-40D0-8F0D-B0CE07A90C68}" dt="2025-08-28T08:25:47.956" v="8894" actId="478"/>
          <ac:picMkLst>
            <pc:docMk/>
            <pc:sldMk cId="2483642181" sldId="2363"/>
            <ac:picMk id="23" creationId="{F68E8DD3-DA14-44CD-22C4-82B3A6892751}"/>
          </ac:picMkLst>
        </pc:picChg>
        <pc:picChg chg="add mod">
          <ac:chgData name="Vikesh Chugani" userId="9c759398cfaae00f" providerId="LiveId" clId="{FDFDE13A-BCE0-40D0-8F0D-B0CE07A90C68}" dt="2025-08-28T08:25:56.175" v="8901" actId="1076"/>
          <ac:picMkLst>
            <pc:docMk/>
            <pc:sldMk cId="2483642181" sldId="2363"/>
            <ac:picMk id="24" creationId="{907FBEFD-9C2E-7375-28B7-69DB33813579}"/>
          </ac:picMkLst>
        </pc:picChg>
        <pc:picChg chg="del">
          <ac:chgData name="Vikesh Chugani" userId="9c759398cfaae00f" providerId="LiveId" clId="{FDFDE13A-BCE0-40D0-8F0D-B0CE07A90C68}" dt="2025-08-28T08:25:50.388" v="8898" actId="478"/>
          <ac:picMkLst>
            <pc:docMk/>
            <pc:sldMk cId="2483642181" sldId="2363"/>
            <ac:picMk id="29" creationId="{C9A47AB4-1CA5-4A52-F51A-9724BFF10C8C}"/>
          </ac:picMkLst>
        </pc:picChg>
        <pc:picChg chg="del">
          <ac:chgData name="Vikesh Chugani" userId="9c759398cfaae00f" providerId="LiveId" clId="{FDFDE13A-BCE0-40D0-8F0D-B0CE07A90C68}" dt="2025-08-28T08:25:50.942" v="8899" actId="478"/>
          <ac:picMkLst>
            <pc:docMk/>
            <pc:sldMk cId="2483642181" sldId="2363"/>
            <ac:picMk id="30" creationId="{C9624AD8-FB2D-86DF-5BFD-BAA0C7273666}"/>
          </ac:picMkLst>
        </pc:picChg>
        <pc:picChg chg="del">
          <ac:chgData name="Vikesh Chugani" userId="9c759398cfaae00f" providerId="LiveId" clId="{FDFDE13A-BCE0-40D0-8F0D-B0CE07A90C68}" dt="2025-08-28T08:25:48.564" v="8895" actId="478"/>
          <ac:picMkLst>
            <pc:docMk/>
            <pc:sldMk cId="2483642181" sldId="2363"/>
            <ac:picMk id="31" creationId="{78BA71F4-F97C-9039-2E10-A4D1FACA1A19}"/>
          </ac:picMkLst>
        </pc:picChg>
        <pc:picChg chg="del">
          <ac:chgData name="Vikesh Chugani" userId="9c759398cfaae00f" providerId="LiveId" clId="{FDFDE13A-BCE0-40D0-8F0D-B0CE07A90C68}" dt="2025-08-28T08:25:49.221" v="8896" actId="478"/>
          <ac:picMkLst>
            <pc:docMk/>
            <pc:sldMk cId="2483642181" sldId="2363"/>
            <ac:picMk id="32" creationId="{601EC1FC-DD2B-A28C-4DAD-5B2FB0D11679}"/>
          </ac:picMkLst>
        </pc:picChg>
        <pc:picChg chg="del">
          <ac:chgData name="Vikesh Chugani" userId="9c759398cfaae00f" providerId="LiveId" clId="{FDFDE13A-BCE0-40D0-8F0D-B0CE07A90C68}" dt="2025-08-28T08:25:49.797" v="8897" actId="478"/>
          <ac:picMkLst>
            <pc:docMk/>
            <pc:sldMk cId="2483642181" sldId="2363"/>
            <ac:picMk id="33" creationId="{E20FB29B-1FE4-0DF8-2952-BD2FFE69B313}"/>
          </ac:picMkLst>
        </pc:picChg>
        <pc:picChg chg="add mod">
          <ac:chgData name="Vikesh Chugani" userId="9c759398cfaae00f" providerId="LiveId" clId="{FDFDE13A-BCE0-40D0-8F0D-B0CE07A90C68}" dt="2025-08-28T08:25:56.175" v="8901" actId="1076"/>
          <ac:picMkLst>
            <pc:docMk/>
            <pc:sldMk cId="2483642181" sldId="2363"/>
            <ac:picMk id="34" creationId="{EA6B7E5C-E294-6676-8B45-93F104382A1F}"/>
          </ac:picMkLst>
        </pc:picChg>
        <pc:picChg chg="add mod">
          <ac:chgData name="Vikesh Chugani" userId="9c759398cfaae00f" providerId="LiveId" clId="{FDFDE13A-BCE0-40D0-8F0D-B0CE07A90C68}" dt="2025-08-28T08:30:04.880" v="8908" actId="1076"/>
          <ac:picMkLst>
            <pc:docMk/>
            <pc:sldMk cId="2483642181" sldId="2363"/>
            <ac:picMk id="35" creationId="{CB14BF79-BA3F-E48C-0DDF-EEE30F871503}"/>
          </ac:picMkLst>
        </pc:picChg>
        <pc:picChg chg="add mod">
          <ac:chgData name="Vikesh Chugani" userId="9c759398cfaae00f" providerId="LiveId" clId="{FDFDE13A-BCE0-40D0-8F0D-B0CE07A90C68}" dt="2025-08-28T08:30:04.880" v="8908" actId="1076"/>
          <ac:picMkLst>
            <pc:docMk/>
            <pc:sldMk cId="2483642181" sldId="2363"/>
            <ac:picMk id="36" creationId="{831A440B-4FB7-9308-E8CE-C6C17D76FA5B}"/>
          </ac:picMkLst>
        </pc:picChg>
        <pc:picChg chg="add mod">
          <ac:chgData name="Vikesh Chugani" userId="9c759398cfaae00f" providerId="LiveId" clId="{FDFDE13A-BCE0-40D0-8F0D-B0CE07A90C68}" dt="2025-08-28T08:30:04.880" v="8908" actId="1076"/>
          <ac:picMkLst>
            <pc:docMk/>
            <pc:sldMk cId="2483642181" sldId="2363"/>
            <ac:picMk id="37" creationId="{9055D4C4-E937-38B0-837A-362AB66EFF9E}"/>
          </ac:picMkLst>
        </pc:picChg>
        <pc:picChg chg="add mod">
          <ac:chgData name="Vikesh Chugani" userId="9c759398cfaae00f" providerId="LiveId" clId="{FDFDE13A-BCE0-40D0-8F0D-B0CE07A90C68}" dt="2025-08-28T08:30:04.880" v="8908" actId="1076"/>
          <ac:picMkLst>
            <pc:docMk/>
            <pc:sldMk cId="2483642181" sldId="2363"/>
            <ac:picMk id="38" creationId="{06E15453-90EF-BE60-AB7E-5C5523DEF191}"/>
          </ac:picMkLst>
        </pc:picChg>
        <pc:picChg chg="add mod">
          <ac:chgData name="Vikesh Chugani" userId="9c759398cfaae00f" providerId="LiveId" clId="{FDFDE13A-BCE0-40D0-8F0D-B0CE07A90C68}" dt="2025-08-28T08:30:04.880" v="8908" actId="1076"/>
          <ac:picMkLst>
            <pc:docMk/>
            <pc:sldMk cId="2483642181" sldId="2363"/>
            <ac:picMk id="39" creationId="{5D62B879-2E9C-F33C-6869-5F57CB51F3D4}"/>
          </ac:picMkLst>
        </pc:picChg>
        <pc:picChg chg="del">
          <ac:chgData name="Vikesh Chugani" userId="9c759398cfaae00f" providerId="LiveId" clId="{FDFDE13A-BCE0-40D0-8F0D-B0CE07A90C68}" dt="2025-08-28T08:38:15.093" v="8941" actId="478"/>
          <ac:picMkLst>
            <pc:docMk/>
            <pc:sldMk cId="2483642181" sldId="2363"/>
            <ac:picMk id="40" creationId="{CFF46195-786E-9AED-0AF6-4E4C4F80382A}"/>
          </ac:picMkLst>
        </pc:picChg>
        <pc:picChg chg="del">
          <ac:chgData name="Vikesh Chugani" userId="9c759398cfaae00f" providerId="LiveId" clId="{FDFDE13A-BCE0-40D0-8F0D-B0CE07A90C68}" dt="2025-08-28T08:38:18.503" v="8946" actId="478"/>
          <ac:picMkLst>
            <pc:docMk/>
            <pc:sldMk cId="2483642181" sldId="2363"/>
            <ac:picMk id="41" creationId="{B9BDCF4F-1A6F-9628-E00F-50F17B7AE8FC}"/>
          </ac:picMkLst>
        </pc:picChg>
        <pc:picChg chg="del">
          <ac:chgData name="Vikesh Chugani" userId="9c759398cfaae00f" providerId="LiveId" clId="{FDFDE13A-BCE0-40D0-8F0D-B0CE07A90C68}" dt="2025-08-28T08:38:16.068" v="8942" actId="478"/>
          <ac:picMkLst>
            <pc:docMk/>
            <pc:sldMk cId="2483642181" sldId="2363"/>
            <ac:picMk id="42" creationId="{80BA778F-7CE7-5BDA-D2D0-94E46D077836}"/>
          </ac:picMkLst>
        </pc:picChg>
        <pc:picChg chg="del">
          <ac:chgData name="Vikesh Chugani" userId="9c759398cfaae00f" providerId="LiveId" clId="{FDFDE13A-BCE0-40D0-8F0D-B0CE07A90C68}" dt="2025-08-28T08:38:17.796" v="8945" actId="478"/>
          <ac:picMkLst>
            <pc:docMk/>
            <pc:sldMk cId="2483642181" sldId="2363"/>
            <ac:picMk id="43" creationId="{F1445DB4-1D8F-E72C-45D5-C74B39814E8B}"/>
          </ac:picMkLst>
        </pc:picChg>
        <pc:picChg chg="del">
          <ac:chgData name="Vikesh Chugani" userId="9c759398cfaae00f" providerId="LiveId" clId="{FDFDE13A-BCE0-40D0-8F0D-B0CE07A90C68}" dt="2025-08-28T08:38:16.653" v="8943" actId="478"/>
          <ac:picMkLst>
            <pc:docMk/>
            <pc:sldMk cId="2483642181" sldId="2363"/>
            <ac:picMk id="44" creationId="{1051A85E-40EF-C36A-DAAF-22DF1F640D8A}"/>
          </ac:picMkLst>
        </pc:picChg>
        <pc:picChg chg="del">
          <ac:chgData name="Vikesh Chugani" userId="9c759398cfaae00f" providerId="LiveId" clId="{FDFDE13A-BCE0-40D0-8F0D-B0CE07A90C68}" dt="2025-08-28T08:38:17.234" v="8944" actId="478"/>
          <ac:picMkLst>
            <pc:docMk/>
            <pc:sldMk cId="2483642181" sldId="2363"/>
            <ac:picMk id="45" creationId="{FA6D0F25-7781-5228-B36C-A23FAB0B7756}"/>
          </ac:picMkLst>
        </pc:picChg>
        <pc:picChg chg="add mod">
          <ac:chgData name="Vikesh Chugani" userId="9c759398cfaae00f" providerId="LiveId" clId="{FDFDE13A-BCE0-40D0-8F0D-B0CE07A90C68}" dt="2025-08-28T08:30:04.880" v="8908" actId="1076"/>
          <ac:picMkLst>
            <pc:docMk/>
            <pc:sldMk cId="2483642181" sldId="2363"/>
            <ac:picMk id="46" creationId="{32613954-96CC-B2BD-6B87-677015AE172C}"/>
          </ac:picMkLst>
        </pc:picChg>
        <pc:picChg chg="add mod">
          <ac:chgData name="Vikesh Chugani" userId="9c759398cfaae00f" providerId="LiveId" clId="{FDFDE13A-BCE0-40D0-8F0D-B0CE07A90C68}" dt="2025-08-28T08:30:04.880" v="8908" actId="1076"/>
          <ac:picMkLst>
            <pc:docMk/>
            <pc:sldMk cId="2483642181" sldId="2363"/>
            <ac:picMk id="47" creationId="{B643A6AA-0696-52F9-4162-A7F99D1EE198}"/>
          </ac:picMkLst>
        </pc:picChg>
        <pc:picChg chg="add mod">
          <ac:chgData name="Vikesh Chugani" userId="9c759398cfaae00f" providerId="LiveId" clId="{FDFDE13A-BCE0-40D0-8F0D-B0CE07A90C68}" dt="2025-08-28T08:30:04.880" v="8908" actId="1076"/>
          <ac:picMkLst>
            <pc:docMk/>
            <pc:sldMk cId="2483642181" sldId="2363"/>
            <ac:picMk id="48" creationId="{489FCE89-C78C-77B8-AE67-9BC90280A009}"/>
          </ac:picMkLst>
        </pc:picChg>
        <pc:picChg chg="add mod">
          <ac:chgData name="Vikesh Chugani" userId="9c759398cfaae00f" providerId="LiveId" clId="{FDFDE13A-BCE0-40D0-8F0D-B0CE07A90C68}" dt="2025-08-28T08:38:38.806" v="8949" actId="1076"/>
          <ac:picMkLst>
            <pc:docMk/>
            <pc:sldMk cId="2483642181" sldId="2363"/>
            <ac:picMk id="49" creationId="{B464C8A8-6F0E-FE14-1F8E-AA455F0F9C54}"/>
          </ac:picMkLst>
        </pc:picChg>
        <pc:picChg chg="add mod">
          <ac:chgData name="Vikesh Chugani" userId="9c759398cfaae00f" providerId="LiveId" clId="{FDFDE13A-BCE0-40D0-8F0D-B0CE07A90C68}" dt="2025-08-28T08:39:04.524" v="8952" actId="1076"/>
          <ac:picMkLst>
            <pc:docMk/>
            <pc:sldMk cId="2483642181" sldId="2363"/>
            <ac:picMk id="50" creationId="{BF9E7EF3-26E9-6DAD-A656-D63E908EA18C}"/>
          </ac:picMkLst>
        </pc:picChg>
        <pc:picChg chg="add mod">
          <ac:chgData name="Vikesh Chugani" userId="9c759398cfaae00f" providerId="LiveId" clId="{FDFDE13A-BCE0-40D0-8F0D-B0CE07A90C68}" dt="2025-08-28T08:40:14.517" v="8962" actId="1076"/>
          <ac:picMkLst>
            <pc:docMk/>
            <pc:sldMk cId="2483642181" sldId="2363"/>
            <ac:picMk id="51" creationId="{6C7B7DD6-0CF0-818E-40E0-DB7C37410F54}"/>
          </ac:picMkLst>
        </pc:picChg>
        <pc:picChg chg="add mod">
          <ac:chgData name="Vikesh Chugani" userId="9c759398cfaae00f" providerId="LiveId" clId="{FDFDE13A-BCE0-40D0-8F0D-B0CE07A90C68}" dt="2025-08-28T08:39:51.789" v="8958" actId="1076"/>
          <ac:picMkLst>
            <pc:docMk/>
            <pc:sldMk cId="2483642181" sldId="2363"/>
            <ac:picMk id="52" creationId="{CE081C90-62A9-1C34-A236-F3674B2A7F1E}"/>
          </ac:picMkLst>
        </pc:picChg>
        <pc:picChg chg="add mod">
          <ac:chgData name="Vikesh Chugani" userId="9c759398cfaae00f" providerId="LiveId" clId="{FDFDE13A-BCE0-40D0-8F0D-B0CE07A90C68}" dt="2025-08-28T08:40:15.797" v="8963" actId="1076"/>
          <ac:picMkLst>
            <pc:docMk/>
            <pc:sldMk cId="2483642181" sldId="2363"/>
            <ac:picMk id="53" creationId="{106E6DEC-C7B5-3C2F-770A-49E09D0E8084}"/>
          </ac:picMkLst>
        </pc:picChg>
      </pc:sldChg>
      <pc:sldMasterChg chg="delSldLayout">
        <pc:chgData name="Vikesh Chugani" userId="9c759398cfaae00f" providerId="LiveId" clId="{FDFDE13A-BCE0-40D0-8F0D-B0CE07A90C68}" dt="2025-08-25T15:34:34.225" v="6750" actId="47"/>
        <pc:sldMasterMkLst>
          <pc:docMk/>
          <pc:sldMasterMk cId="0" sldId="2147483648"/>
        </pc:sldMasterMkLst>
        <pc:sldLayoutChg chg="del">
          <pc:chgData name="Vikesh Chugani" userId="9c759398cfaae00f" providerId="LiveId" clId="{FDFDE13A-BCE0-40D0-8F0D-B0CE07A90C68}" dt="2025-08-25T15:34:34.225" v="6750" actId="47"/>
          <pc:sldLayoutMkLst>
            <pc:docMk/>
            <pc:sldMasterMk cId="0" sldId="2147483648"/>
            <pc:sldLayoutMk cId="1273481766" sldId="2147483662"/>
          </pc:sldLayoutMkLst>
        </pc:sldLayoutChg>
        <pc:sldLayoutChg chg="del">
          <pc:chgData name="Vikesh Chugani" userId="9c759398cfaae00f" providerId="LiveId" clId="{FDFDE13A-BCE0-40D0-8F0D-B0CE07A90C68}" dt="2025-08-25T13:40:22.882" v="5425" actId="47"/>
          <pc:sldLayoutMkLst>
            <pc:docMk/>
            <pc:sldMasterMk cId="0" sldId="2147483648"/>
            <pc:sldLayoutMk cId="3337062450" sldId="2147483663"/>
          </pc:sldLayoutMkLst>
        </pc:sldLayoutChg>
        <pc:sldLayoutChg chg="del">
          <pc:chgData name="Vikesh Chugani" userId="9c759398cfaae00f" providerId="LiveId" clId="{FDFDE13A-BCE0-40D0-8F0D-B0CE07A90C68}" dt="2025-08-25T13:39:50.233" v="5424" actId="47"/>
          <pc:sldLayoutMkLst>
            <pc:docMk/>
            <pc:sldMasterMk cId="0" sldId="2147483648"/>
            <pc:sldLayoutMk cId="2663392075" sldId="2147483664"/>
          </pc:sldLayoutMkLst>
        </pc:sldLayoutChg>
        <pc:sldLayoutChg chg="del">
          <pc:chgData name="Vikesh Chugani" userId="9c759398cfaae00f" providerId="LiveId" clId="{FDFDE13A-BCE0-40D0-8F0D-B0CE07A90C68}" dt="2025-08-25T13:39:50.233" v="5424" actId="47"/>
          <pc:sldLayoutMkLst>
            <pc:docMk/>
            <pc:sldMasterMk cId="0" sldId="2147483648"/>
            <pc:sldLayoutMk cId="1799286254" sldId="2147483665"/>
          </pc:sldLayoutMkLst>
        </pc:sldLayoutChg>
        <pc:sldLayoutChg chg="del">
          <pc:chgData name="Vikesh Chugani" userId="9c759398cfaae00f" providerId="LiveId" clId="{FDFDE13A-BCE0-40D0-8F0D-B0CE07A90C68}" dt="2025-08-25T13:39:50.233" v="5424" actId="47"/>
          <pc:sldLayoutMkLst>
            <pc:docMk/>
            <pc:sldMasterMk cId="0" sldId="2147483648"/>
            <pc:sldLayoutMk cId="1099835492" sldId="2147483666"/>
          </pc:sldLayoutMkLst>
        </pc:sldLayoutChg>
        <pc:sldLayoutChg chg="del">
          <pc:chgData name="Vikesh Chugani" userId="9c759398cfaae00f" providerId="LiveId" clId="{FDFDE13A-BCE0-40D0-8F0D-B0CE07A90C68}" dt="2025-08-22T13:44:44.954" v="3706" actId="47"/>
          <pc:sldLayoutMkLst>
            <pc:docMk/>
            <pc:sldMasterMk cId="0" sldId="2147483648"/>
            <pc:sldLayoutMk cId="3149350384" sldId="2147483666"/>
          </pc:sldLayoutMkLst>
        </pc:sldLayoutChg>
      </pc:sldMasterChg>
      <pc:sldMasterChg chg="del delSldLayout">
        <pc:chgData name="Vikesh Chugani" userId="9c759398cfaae00f" providerId="LiveId" clId="{FDFDE13A-BCE0-40D0-8F0D-B0CE07A90C68}" dt="2025-08-22T13:13:55.649" v="23" actId="2696"/>
        <pc:sldMasterMkLst>
          <pc:docMk/>
          <pc:sldMasterMk cId="3075907825" sldId="2147483702"/>
        </pc:sldMasterMkLst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1011871807" sldId="2147483703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1347583845" sldId="2147483704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2874673133" sldId="2147483705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3612991158" sldId="2147483706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2259269607" sldId="2147483707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2507021169" sldId="2147483708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3647591092" sldId="2147483709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2668089661" sldId="2147483710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255719272" sldId="2147483711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180007133" sldId="2147483712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414712647" sldId="2147483713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2522514759" sldId="2147483714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1222917550" sldId="2147483715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549502026" sldId="2147483716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2139078769" sldId="2147483717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075907825" sldId="2147483702"/>
            <pc:sldLayoutMk cId="4073762933" sldId="2147483718"/>
          </pc:sldLayoutMkLst>
        </pc:sldLayoutChg>
      </pc:sldMasterChg>
      <pc:sldMasterChg chg="del delSldLayout">
        <pc:chgData name="Vikesh Chugani" userId="9c759398cfaae00f" providerId="LiveId" clId="{FDFDE13A-BCE0-40D0-8F0D-B0CE07A90C68}" dt="2025-08-22T13:13:55.649" v="23" actId="2696"/>
        <pc:sldMasterMkLst>
          <pc:docMk/>
          <pc:sldMasterMk cId="1831994636" sldId="2147483719"/>
        </pc:sldMasterMkLst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3357688955" sldId="2147483720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1983086274" sldId="2147483721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3733324322" sldId="2147483722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1660303526" sldId="2147483723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2456771622" sldId="2147483724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555926659" sldId="2147483725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1635127571" sldId="2147483726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304642676" sldId="2147483727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3550626476" sldId="2147483728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116831462" sldId="2147483729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3201082485" sldId="2147483730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497833071" sldId="2147483731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1442669704" sldId="2147483732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3643271523" sldId="2147483733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689664876" sldId="2147483734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1831994636" sldId="2147483719"/>
            <pc:sldLayoutMk cId="1820530042" sldId="2147483735"/>
          </pc:sldLayoutMkLst>
        </pc:sldLayoutChg>
      </pc:sldMasterChg>
      <pc:sldMasterChg chg="del delSldLayout">
        <pc:chgData name="Vikesh Chugani" userId="9c759398cfaae00f" providerId="LiveId" clId="{FDFDE13A-BCE0-40D0-8F0D-B0CE07A90C68}" dt="2025-08-22T13:13:55.649" v="23" actId="2696"/>
        <pc:sldMasterMkLst>
          <pc:docMk/>
          <pc:sldMasterMk cId="2143739592" sldId="2147483736"/>
        </pc:sldMasterMkLst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317608737" sldId="2147483737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2185018270" sldId="2147483738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848429063" sldId="2147483739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23491011" sldId="2147483740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1707437477" sldId="2147483741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4115019894" sldId="2147483742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2851199305" sldId="2147483743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2517861477" sldId="2147483744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2409847318" sldId="2147483745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2089876123" sldId="2147483746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536469137" sldId="2147483747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1777211992" sldId="2147483748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2853332026" sldId="2147483749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3130571350" sldId="2147483750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630496958" sldId="2147483751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2143739592" sldId="2147483736"/>
            <pc:sldLayoutMk cId="2168244376" sldId="2147483752"/>
          </pc:sldLayoutMkLst>
        </pc:sldLayoutChg>
      </pc:sldMasterChg>
      <pc:sldMasterChg chg="del delSldLayout">
        <pc:chgData name="Vikesh Chugani" userId="9c759398cfaae00f" providerId="LiveId" clId="{FDFDE13A-BCE0-40D0-8F0D-B0CE07A90C68}" dt="2025-08-22T13:13:55.649" v="23" actId="2696"/>
        <pc:sldMasterMkLst>
          <pc:docMk/>
          <pc:sldMasterMk cId="740412119" sldId="2147483753"/>
        </pc:sldMasterMkLst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3744650268" sldId="2147483754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1123412623" sldId="2147483755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4145140959" sldId="2147483756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1715097058" sldId="2147483757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1497658769" sldId="2147483758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237219345" sldId="2147483759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3676038715" sldId="2147483760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2779702364" sldId="2147483761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1043316254" sldId="2147483762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2982898193" sldId="2147483763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2448423738" sldId="2147483764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1524763896" sldId="2147483765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2088421829" sldId="2147483766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1882583338" sldId="2147483767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1063544726" sldId="2147483768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740412119" sldId="2147483753"/>
            <pc:sldLayoutMk cId="599692115" sldId="2147483769"/>
          </pc:sldLayoutMkLst>
        </pc:sldLayoutChg>
      </pc:sldMasterChg>
      <pc:sldMasterChg chg="del delSldLayout">
        <pc:chgData name="Vikesh Chugani" userId="9c759398cfaae00f" providerId="LiveId" clId="{FDFDE13A-BCE0-40D0-8F0D-B0CE07A90C68}" dt="2025-08-22T13:13:55.649" v="23" actId="2696"/>
        <pc:sldMasterMkLst>
          <pc:docMk/>
          <pc:sldMasterMk cId="3940527534" sldId="2147483770"/>
        </pc:sldMasterMkLst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2373027986" sldId="2147483771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2721948069" sldId="2147483772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2439836345" sldId="2147483773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2481744291" sldId="2147483774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2372093996" sldId="2147483775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3991002606" sldId="2147483776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3867997131" sldId="2147483777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3848414587" sldId="2147483778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3750837623" sldId="2147483779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3354371570" sldId="2147483780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258984750" sldId="2147483781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400452218" sldId="2147483782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2486958908" sldId="2147483783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2243547009" sldId="2147483784"/>
          </pc:sldLayoutMkLst>
        </pc:sldLayoutChg>
        <pc:sldLayoutChg chg="del">
          <pc:chgData name="Vikesh Chugani" userId="9c759398cfaae00f" providerId="LiveId" clId="{FDFDE13A-BCE0-40D0-8F0D-B0CE07A90C68}" dt="2025-08-22T13:13:55.649" v="23" actId="2696"/>
          <pc:sldLayoutMkLst>
            <pc:docMk/>
            <pc:sldMasterMk cId="3940527534" sldId="2147483770"/>
            <pc:sldLayoutMk cId="587762817" sldId="2147483785"/>
          </pc:sldLayoutMkLst>
        </pc:sldLayoutChg>
      </pc:sldMasterChg>
    </pc:docChg>
  </pc:docChgLst>
  <pc:docChgLst>
    <pc:chgData name="Vikesh Chugani" userId="9c759398cfaae00f" providerId="LiveId" clId="{CC4D3B37-91C8-4754-AD3E-967E2ABFF47A}"/>
    <pc:docChg chg="addSld delSld modSld sldOrd">
      <pc:chgData name="Vikesh Chugani" userId="9c759398cfaae00f" providerId="LiveId" clId="{CC4D3B37-91C8-4754-AD3E-967E2ABFF47A}" dt="2025-08-28T10:55:08.279" v="3"/>
      <pc:docMkLst>
        <pc:docMk/>
      </pc:docMkLst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0" sldId="256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990182570" sldId="337"/>
        </pc:sldMkLst>
      </pc:sldChg>
      <pc:sldChg chg="ord">
        <pc:chgData name="Vikesh Chugani" userId="9c759398cfaae00f" providerId="LiveId" clId="{CC4D3B37-91C8-4754-AD3E-967E2ABFF47A}" dt="2025-08-28T08:52:19.428" v="2"/>
        <pc:sldMkLst>
          <pc:docMk/>
          <pc:sldMk cId="0" sldId="338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933230722" sldId="387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4163091949" sldId="398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2208242530" sldId="430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949735749" sldId="431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1705545757" sldId="436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919046105" sldId="437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513812719" sldId="438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1544276933" sldId="445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3472588841" sldId="473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1042541821" sldId="1652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855972777" sldId="1678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1440722758" sldId="1768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3365402031" sldId="1911"/>
        </pc:sldMkLst>
      </pc:sldChg>
      <pc:sldChg chg="add">
        <pc:chgData name="Vikesh Chugani" userId="9c759398cfaae00f" providerId="LiveId" clId="{CC4D3B37-91C8-4754-AD3E-967E2ABFF47A}" dt="2025-08-28T10:55:08.279" v="3"/>
        <pc:sldMkLst>
          <pc:docMk/>
          <pc:sldMk cId="1290931714" sldId="1920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2976705604" sldId="2210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1190431398" sldId="2309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2034231181" sldId="2310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2628195781" sldId="2316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1298207943" sldId="2334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3214390111" sldId="2336"/>
        </pc:sldMkLst>
      </pc:sldChg>
      <pc:sldChg chg="del">
        <pc:chgData name="Vikesh Chugani" userId="9c759398cfaae00f" providerId="LiveId" clId="{CC4D3B37-91C8-4754-AD3E-967E2ABFF47A}" dt="2025-08-28T08:52:17.156" v="0" actId="47"/>
        <pc:sldMkLst>
          <pc:docMk/>
          <pc:sldMk cId="2483642181" sldId="2363"/>
        </pc:sldMkLst>
      </pc:sldChg>
      <pc:sldMasterChg chg="delSldLayout">
        <pc:chgData name="Vikesh Chugani" userId="9c759398cfaae00f" providerId="LiveId" clId="{CC4D3B37-91C8-4754-AD3E-967E2ABFF47A}" dt="2025-08-28T08:52:17.156" v="0" actId="47"/>
        <pc:sldMasterMkLst>
          <pc:docMk/>
          <pc:sldMasterMk cId="0" sldId="2147483648"/>
        </pc:sldMasterMkLst>
        <pc:sldLayoutChg chg="del">
          <pc:chgData name="Vikesh Chugani" userId="9c759398cfaae00f" providerId="LiveId" clId="{CC4D3B37-91C8-4754-AD3E-967E2ABFF47A}" dt="2025-08-28T08:52:17.156" v="0" actId="47"/>
          <pc:sldLayoutMkLst>
            <pc:docMk/>
            <pc:sldMasterMk cId="0" sldId="2147483648"/>
            <pc:sldLayoutMk cId="2135466723" sldId="2147483660"/>
          </pc:sldLayoutMkLst>
        </pc:sldLayoutChg>
        <pc:sldLayoutChg chg="del">
          <pc:chgData name="Vikesh Chugani" userId="9c759398cfaae00f" providerId="LiveId" clId="{CC4D3B37-91C8-4754-AD3E-967E2ABFF47A}" dt="2025-08-28T08:52:17.156" v="0" actId="47"/>
          <pc:sldLayoutMkLst>
            <pc:docMk/>
            <pc:sldMasterMk cId="0" sldId="2147483648"/>
            <pc:sldLayoutMk cId="433540989" sldId="2147483664"/>
          </pc:sldLayoutMkLst>
        </pc:sldLayoutChg>
        <pc:sldLayoutChg chg="del">
          <pc:chgData name="Vikesh Chugani" userId="9c759398cfaae00f" providerId="LiveId" clId="{CC4D3B37-91C8-4754-AD3E-967E2ABFF47A}" dt="2025-08-28T08:52:17.156" v="0" actId="47"/>
          <pc:sldLayoutMkLst>
            <pc:docMk/>
            <pc:sldMasterMk cId="0" sldId="2147483648"/>
            <pc:sldLayoutMk cId="4187227310" sldId="2147483665"/>
          </pc:sldLayoutMkLst>
        </pc:sldLayoutChg>
        <pc:sldLayoutChg chg="del">
          <pc:chgData name="Vikesh Chugani" userId="9c759398cfaae00f" providerId="LiveId" clId="{CC4D3B37-91C8-4754-AD3E-967E2ABFF47A}" dt="2025-08-28T08:52:17.156" v="0" actId="47"/>
          <pc:sldLayoutMkLst>
            <pc:docMk/>
            <pc:sldMasterMk cId="0" sldId="2147483648"/>
            <pc:sldLayoutMk cId="3265415181" sldId="2147483666"/>
          </pc:sldLayoutMkLst>
        </pc:sldLayoutChg>
        <pc:sldLayoutChg chg="del">
          <pc:chgData name="Vikesh Chugani" userId="9c759398cfaae00f" providerId="LiveId" clId="{CC4D3B37-91C8-4754-AD3E-967E2ABFF47A}" dt="2025-08-28T08:52:17.156" v="0" actId="47"/>
          <pc:sldLayoutMkLst>
            <pc:docMk/>
            <pc:sldMasterMk cId="0" sldId="2147483648"/>
            <pc:sldLayoutMk cId="163783297" sldId="2147483667"/>
          </pc:sldLayoutMkLst>
        </pc:sldLayoutChg>
      </pc:sldMasterChg>
    </pc:docChg>
  </pc:docChgLst>
  <pc:docChgLst>
    <pc:chgData name="Vikesh Chugani" userId="9c759398cfaae00f" providerId="LiveId" clId="{C773D2B4-CDEC-48AD-B505-F91DBBE024B6}"/>
    <pc:docChg chg="undo redo custSel addSld delSld modSld sldOrd delMainMaster modMainMaster">
      <pc:chgData name="Vikesh Chugani" userId="9c759398cfaae00f" providerId="LiveId" clId="{C773D2B4-CDEC-48AD-B505-F91DBBE024B6}" dt="2024-08-27T14:38:57.966" v="41071" actId="20577"/>
      <pc:docMkLst>
        <pc:docMk/>
      </pc:docMkLst>
      <pc:sldChg chg="modSp mod modNotesTx">
        <pc:chgData name="Vikesh Chugani" userId="9c759398cfaae00f" providerId="LiveId" clId="{C773D2B4-CDEC-48AD-B505-F91DBBE024B6}" dt="2024-08-27T14:09:16.454" v="40849" actId="20577"/>
        <pc:sldMkLst>
          <pc:docMk/>
          <pc:sldMk cId="0" sldId="256"/>
        </pc:sldMkLst>
      </pc:sldChg>
      <pc:sldChg chg="del">
        <pc:chgData name="Vikesh Chugani" userId="9c759398cfaae00f" providerId="LiveId" clId="{C773D2B4-CDEC-48AD-B505-F91DBBE024B6}" dt="2024-08-09T14:22:58.170" v="13303" actId="47"/>
        <pc:sldMkLst>
          <pc:docMk/>
          <pc:sldMk cId="0" sldId="257"/>
        </pc:sldMkLst>
      </pc:sldChg>
      <pc:sldChg chg="del">
        <pc:chgData name="Vikesh Chugani" userId="9c759398cfaae00f" providerId="LiveId" clId="{C773D2B4-CDEC-48AD-B505-F91DBBE024B6}" dt="2024-08-09T14:22:58.661" v="13304" actId="47"/>
        <pc:sldMkLst>
          <pc:docMk/>
          <pc:sldMk cId="0" sldId="258"/>
        </pc:sldMkLst>
      </pc:sldChg>
      <pc:sldChg chg="del">
        <pc:chgData name="Vikesh Chugani" userId="9c759398cfaae00f" providerId="LiveId" clId="{C773D2B4-CDEC-48AD-B505-F91DBBE024B6}" dt="2024-08-09T14:22:59.175" v="13305" actId="47"/>
        <pc:sldMkLst>
          <pc:docMk/>
          <pc:sldMk cId="0" sldId="259"/>
        </pc:sldMkLst>
      </pc:sldChg>
      <pc:sldChg chg="del">
        <pc:chgData name="Vikesh Chugani" userId="9c759398cfaae00f" providerId="LiveId" clId="{C773D2B4-CDEC-48AD-B505-F91DBBE024B6}" dt="2024-08-09T14:23:00.802" v="13306" actId="47"/>
        <pc:sldMkLst>
          <pc:docMk/>
          <pc:sldMk cId="0" sldId="260"/>
        </pc:sldMkLst>
      </pc:sldChg>
      <pc:sldChg chg="del">
        <pc:chgData name="Vikesh Chugani" userId="9c759398cfaae00f" providerId="LiveId" clId="{C773D2B4-CDEC-48AD-B505-F91DBBE024B6}" dt="2024-08-09T14:23:03.840" v="13307" actId="47"/>
        <pc:sldMkLst>
          <pc:docMk/>
          <pc:sldMk cId="0" sldId="261"/>
        </pc:sldMkLst>
      </pc:sldChg>
      <pc:sldChg chg="del">
        <pc:chgData name="Vikesh Chugani" userId="9c759398cfaae00f" providerId="LiveId" clId="{C773D2B4-CDEC-48AD-B505-F91DBBE024B6}" dt="2024-08-09T14:23:06.535" v="13308" actId="47"/>
        <pc:sldMkLst>
          <pc:docMk/>
          <pc:sldMk cId="0" sldId="262"/>
        </pc:sldMkLst>
      </pc:sldChg>
      <pc:sldChg chg="del">
        <pc:chgData name="Vikesh Chugani" userId="9c759398cfaae00f" providerId="LiveId" clId="{C773D2B4-CDEC-48AD-B505-F91DBBE024B6}" dt="2024-08-09T14:23:07.658" v="13309" actId="47"/>
        <pc:sldMkLst>
          <pc:docMk/>
          <pc:sldMk cId="0" sldId="263"/>
        </pc:sldMkLst>
      </pc:sldChg>
      <pc:sldChg chg="del">
        <pc:chgData name="Vikesh Chugani" userId="9c759398cfaae00f" providerId="LiveId" clId="{C773D2B4-CDEC-48AD-B505-F91DBBE024B6}" dt="2024-08-09T14:23:07.750" v="13310" actId="47"/>
        <pc:sldMkLst>
          <pc:docMk/>
          <pc:sldMk cId="0" sldId="264"/>
        </pc:sldMkLst>
      </pc:sldChg>
      <pc:sldChg chg="del">
        <pc:chgData name="Vikesh Chugani" userId="9c759398cfaae00f" providerId="LiveId" clId="{C773D2B4-CDEC-48AD-B505-F91DBBE024B6}" dt="2024-08-09T14:23:09" v="13311" actId="47"/>
        <pc:sldMkLst>
          <pc:docMk/>
          <pc:sldMk cId="0" sldId="265"/>
        </pc:sldMkLst>
      </pc:sldChg>
      <pc:sldChg chg="del">
        <pc:chgData name="Vikesh Chugani" userId="9c759398cfaae00f" providerId="LiveId" clId="{C773D2B4-CDEC-48AD-B505-F91DBBE024B6}" dt="2024-08-09T14:23:10.722" v="13312" actId="47"/>
        <pc:sldMkLst>
          <pc:docMk/>
          <pc:sldMk cId="0" sldId="266"/>
        </pc:sldMkLst>
      </pc:sldChg>
      <pc:sldChg chg="del">
        <pc:chgData name="Vikesh Chugani" userId="9c759398cfaae00f" providerId="LiveId" clId="{C773D2B4-CDEC-48AD-B505-F91DBBE024B6}" dt="2024-08-09T14:23:12.164" v="13313" actId="47"/>
        <pc:sldMkLst>
          <pc:docMk/>
          <pc:sldMk cId="0" sldId="267"/>
        </pc:sldMkLst>
      </pc:sldChg>
      <pc:sldChg chg="del">
        <pc:chgData name="Vikesh Chugani" userId="9c759398cfaae00f" providerId="LiveId" clId="{C773D2B4-CDEC-48AD-B505-F91DBBE024B6}" dt="2024-08-09T14:23:19.455" v="13314" actId="47"/>
        <pc:sldMkLst>
          <pc:docMk/>
          <pc:sldMk cId="0" sldId="268"/>
        </pc:sldMkLst>
      </pc:sldChg>
      <pc:sldChg chg="del">
        <pc:chgData name="Vikesh Chugani" userId="9c759398cfaae00f" providerId="LiveId" clId="{C773D2B4-CDEC-48AD-B505-F91DBBE024B6}" dt="2024-08-09T14:23:19.455" v="13314" actId="47"/>
        <pc:sldMkLst>
          <pc:docMk/>
          <pc:sldMk cId="0" sldId="269"/>
        </pc:sldMkLst>
      </pc:sldChg>
      <pc:sldChg chg="del">
        <pc:chgData name="Vikesh Chugani" userId="9c759398cfaae00f" providerId="LiveId" clId="{C773D2B4-CDEC-48AD-B505-F91DBBE024B6}" dt="2024-08-09T14:23:19.455" v="13314" actId="47"/>
        <pc:sldMkLst>
          <pc:docMk/>
          <pc:sldMk cId="0" sldId="270"/>
        </pc:sldMkLst>
      </pc:sldChg>
      <pc:sldChg chg="add">
        <pc:chgData name="Vikesh Chugani" userId="9c759398cfaae00f" providerId="LiveId" clId="{C773D2B4-CDEC-48AD-B505-F91DBBE024B6}" dt="2024-08-27T09:24:45.804" v="40362"/>
        <pc:sldMkLst>
          <pc:docMk/>
          <pc:sldMk cId="3126494913" sldId="319"/>
        </pc:sldMkLst>
      </pc:sldChg>
      <pc:sldChg chg="del">
        <pc:chgData name="Vikesh Chugani" userId="9c759398cfaae00f" providerId="LiveId" clId="{C773D2B4-CDEC-48AD-B505-F91DBBE024B6}" dt="2024-08-09T09:25:41.926" v="7079" actId="47"/>
        <pc:sldMkLst>
          <pc:docMk/>
          <pc:sldMk cId="1408560774" sldId="329"/>
        </pc:sldMkLst>
      </pc:sldChg>
      <pc:sldChg chg="modSp mod ord modShow modNotesTx">
        <pc:chgData name="Vikesh Chugani" userId="9c759398cfaae00f" providerId="LiveId" clId="{C773D2B4-CDEC-48AD-B505-F91DBBE024B6}" dt="2024-08-26T10:03:39.290" v="34745" actId="20577"/>
        <pc:sldMkLst>
          <pc:docMk/>
          <pc:sldMk cId="754354854" sldId="377"/>
        </pc:sldMkLst>
      </pc:sldChg>
      <pc:sldChg chg="modSp mod modNotesTx">
        <pc:chgData name="Vikesh Chugani" userId="9c759398cfaae00f" providerId="LiveId" clId="{C773D2B4-CDEC-48AD-B505-F91DBBE024B6}" dt="2024-08-26T10:26:03.943" v="36010" actId="20577"/>
        <pc:sldMkLst>
          <pc:docMk/>
          <pc:sldMk cId="527962549" sldId="383"/>
        </pc:sldMkLst>
      </pc:sldChg>
      <pc:sldChg chg="modSp del mod ord modShow modNotesTx">
        <pc:chgData name="Vikesh Chugani" userId="9c759398cfaae00f" providerId="LiveId" clId="{C773D2B4-CDEC-48AD-B505-F91DBBE024B6}" dt="2024-08-27T09:34:44.905" v="40490" actId="47"/>
        <pc:sldMkLst>
          <pc:docMk/>
          <pc:sldMk cId="3506657786" sldId="406"/>
        </pc:sldMkLst>
      </pc:sldChg>
      <pc:sldChg chg="del">
        <pc:chgData name="Vikesh Chugani" userId="9c759398cfaae00f" providerId="LiveId" clId="{C773D2B4-CDEC-48AD-B505-F91DBBE024B6}" dt="2024-08-09T14:22:56.475" v="13301" actId="47"/>
        <pc:sldMkLst>
          <pc:docMk/>
          <pc:sldMk cId="793321667" sldId="411"/>
        </pc:sldMkLst>
      </pc:sldChg>
      <pc:sldChg chg="modSp mod modNotesTx">
        <pc:chgData name="Vikesh Chugani" userId="9c759398cfaae00f" providerId="LiveId" clId="{C773D2B4-CDEC-48AD-B505-F91DBBE024B6}" dt="2024-08-27T08:35:32.839" v="40257" actId="6549"/>
        <pc:sldMkLst>
          <pc:docMk/>
          <pc:sldMk cId="2208242530" sldId="430"/>
        </pc:sldMkLst>
      </pc:sldChg>
      <pc:sldChg chg="modSp mod modNotesTx">
        <pc:chgData name="Vikesh Chugani" userId="9c759398cfaae00f" providerId="LiveId" clId="{C773D2B4-CDEC-48AD-B505-F91DBBE024B6}" dt="2024-08-27T08:37:31.248" v="40261" actId="20577"/>
        <pc:sldMkLst>
          <pc:docMk/>
          <pc:sldMk cId="949735749" sldId="431"/>
        </pc:sldMkLst>
      </pc:sldChg>
      <pc:sldChg chg="modSp mod modNotesTx">
        <pc:chgData name="Vikesh Chugani" userId="9c759398cfaae00f" providerId="LiveId" clId="{C773D2B4-CDEC-48AD-B505-F91DBBE024B6}" dt="2024-08-27T08:38:29.879" v="40263" actId="20577"/>
        <pc:sldMkLst>
          <pc:docMk/>
          <pc:sldMk cId="1705545757" sldId="436"/>
        </pc:sldMkLst>
      </pc:sldChg>
      <pc:sldChg chg="modSp mod modNotesTx">
        <pc:chgData name="Vikesh Chugani" userId="9c759398cfaae00f" providerId="LiveId" clId="{C773D2B4-CDEC-48AD-B505-F91DBBE024B6}" dt="2024-08-27T08:41:47.367" v="40291" actId="20577"/>
        <pc:sldMkLst>
          <pc:docMk/>
          <pc:sldMk cId="919046105" sldId="437"/>
        </pc:sldMkLst>
      </pc:sldChg>
      <pc:sldChg chg="modSp del mod">
        <pc:chgData name="Vikesh Chugani" userId="9c759398cfaae00f" providerId="LiveId" clId="{C773D2B4-CDEC-48AD-B505-F91DBBE024B6}" dt="2024-08-09T13:37:35.946" v="10599" actId="47"/>
        <pc:sldMkLst>
          <pc:docMk/>
          <pc:sldMk cId="513812719" sldId="438"/>
        </pc:sldMkLst>
      </pc:sldChg>
      <pc:sldChg chg="modSp mod modNotesTx">
        <pc:chgData name="Vikesh Chugani" userId="9c759398cfaae00f" providerId="LiveId" clId="{C773D2B4-CDEC-48AD-B505-F91DBBE024B6}" dt="2024-08-14T15:49:59.165" v="31092" actId="20577"/>
        <pc:sldMkLst>
          <pc:docMk/>
          <pc:sldMk cId="2272160147" sldId="445"/>
        </pc:sldMkLst>
      </pc:sldChg>
      <pc:sldChg chg="addSp modSp mod modNotesTx">
        <pc:chgData name="Vikesh Chugani" userId="9c759398cfaae00f" providerId="LiveId" clId="{C773D2B4-CDEC-48AD-B505-F91DBBE024B6}" dt="2024-08-14T15:44:38.717" v="30873" actId="6549"/>
        <pc:sldMkLst>
          <pc:docMk/>
          <pc:sldMk cId="1885496752" sldId="474"/>
        </pc:sldMkLst>
      </pc:sldChg>
      <pc:sldChg chg="del">
        <pc:chgData name="Vikesh Chugani" userId="9c759398cfaae00f" providerId="LiveId" clId="{C773D2B4-CDEC-48AD-B505-F91DBBE024B6}" dt="2024-08-09T14:22:48.057" v="13298" actId="47"/>
        <pc:sldMkLst>
          <pc:docMk/>
          <pc:sldMk cId="2596216829" sldId="509"/>
        </pc:sldMkLst>
      </pc:sldChg>
      <pc:sldChg chg="modSp mod ord modNotesTx">
        <pc:chgData name="Vikesh Chugani" userId="9c759398cfaae00f" providerId="LiveId" clId="{C773D2B4-CDEC-48AD-B505-F91DBBE024B6}" dt="2024-08-27T14:12:06.770" v="40895" actId="113"/>
        <pc:sldMkLst>
          <pc:docMk/>
          <pc:sldMk cId="962720674" sldId="520"/>
        </pc:sldMkLst>
      </pc:sldChg>
      <pc:sldChg chg="del">
        <pc:chgData name="Vikesh Chugani" userId="9c759398cfaae00f" providerId="LiveId" clId="{C773D2B4-CDEC-48AD-B505-F91DBBE024B6}" dt="2024-08-09T09:25:41.926" v="7079" actId="47"/>
        <pc:sldMkLst>
          <pc:docMk/>
          <pc:sldMk cId="3910246166" sldId="544"/>
        </pc:sldMkLst>
      </pc:sldChg>
      <pc:sldChg chg="del">
        <pc:chgData name="Vikesh Chugani" userId="9c759398cfaae00f" providerId="LiveId" clId="{C773D2B4-CDEC-48AD-B505-F91DBBE024B6}" dt="2024-08-09T09:25:41.926" v="7079" actId="47"/>
        <pc:sldMkLst>
          <pc:docMk/>
          <pc:sldMk cId="2713630927" sldId="545"/>
        </pc:sldMkLst>
      </pc:sldChg>
      <pc:sldChg chg="modNotesTx">
        <pc:chgData name="Vikesh Chugani" userId="9c759398cfaae00f" providerId="LiveId" clId="{C773D2B4-CDEC-48AD-B505-F91DBBE024B6}" dt="2024-08-14T07:32:48.962" v="17532" actId="20577"/>
        <pc:sldMkLst>
          <pc:docMk/>
          <pc:sldMk cId="232353031" sldId="547"/>
        </pc:sldMkLst>
      </pc:sldChg>
      <pc:sldChg chg="del">
        <pc:chgData name="Vikesh Chugani" userId="9c759398cfaae00f" providerId="LiveId" clId="{C773D2B4-CDEC-48AD-B505-F91DBBE024B6}" dt="2024-08-09T14:22:55.292" v="13300" actId="47"/>
        <pc:sldMkLst>
          <pc:docMk/>
          <pc:sldMk cId="1006643711" sldId="554"/>
        </pc:sldMkLst>
      </pc:sldChg>
      <pc:sldChg chg="del">
        <pc:chgData name="Vikesh Chugani" userId="9c759398cfaae00f" providerId="LiveId" clId="{C773D2B4-CDEC-48AD-B505-F91DBBE024B6}" dt="2024-08-09T08:02:43.566" v="4030" actId="47"/>
        <pc:sldMkLst>
          <pc:docMk/>
          <pc:sldMk cId="2098780956" sldId="846"/>
        </pc:sldMkLst>
      </pc:sldChg>
      <pc:sldChg chg="add modNotesTx">
        <pc:chgData name="Vikesh Chugani" userId="9c759398cfaae00f" providerId="LiveId" clId="{C773D2B4-CDEC-48AD-B505-F91DBBE024B6}" dt="2024-08-14T11:50:54.710" v="24447" actId="20577"/>
        <pc:sldMkLst>
          <pc:docMk/>
          <pc:sldMk cId="1363970311" sldId="1472"/>
        </pc:sldMkLst>
      </pc:sldChg>
      <pc:sldChg chg="modNotesTx">
        <pc:chgData name="Vikesh Chugani" userId="9c759398cfaae00f" providerId="LiveId" clId="{C773D2B4-CDEC-48AD-B505-F91DBBE024B6}" dt="2024-08-27T14:11:00.388" v="40882" actId="20577"/>
        <pc:sldMkLst>
          <pc:docMk/>
          <pc:sldMk cId="1042541821" sldId="1652"/>
        </pc:sldMkLst>
      </pc:sldChg>
      <pc:sldChg chg="modSp mod modNotesTx">
        <pc:chgData name="Vikesh Chugani" userId="9c759398cfaae00f" providerId="LiveId" clId="{C773D2B4-CDEC-48AD-B505-F91DBBE024B6}" dt="2024-08-26T10:30:02.201" v="36190" actId="20577"/>
        <pc:sldMkLst>
          <pc:docMk/>
          <pc:sldMk cId="4204641025" sldId="1768"/>
        </pc:sldMkLst>
      </pc:sldChg>
      <pc:sldChg chg="addSp modSp mod modNotesTx">
        <pc:chgData name="Vikesh Chugani" userId="9c759398cfaae00f" providerId="LiveId" clId="{C773D2B4-CDEC-48AD-B505-F91DBBE024B6}" dt="2024-08-26T14:27:10.680" v="38078" actId="20577"/>
        <pc:sldMkLst>
          <pc:docMk/>
          <pc:sldMk cId="2190620453" sldId="1819"/>
        </pc:sldMkLst>
      </pc:sldChg>
      <pc:sldChg chg="del">
        <pc:chgData name="Vikesh Chugani" userId="9c759398cfaae00f" providerId="LiveId" clId="{C773D2B4-CDEC-48AD-B505-F91DBBE024B6}" dt="2024-08-09T10:05:53.386" v="8959" actId="47"/>
        <pc:sldMkLst>
          <pc:docMk/>
          <pc:sldMk cId="909555838" sldId="1821"/>
        </pc:sldMkLst>
      </pc:sldChg>
      <pc:sldChg chg="modSp mod modNotesTx">
        <pc:chgData name="Vikesh Chugani" userId="9c759398cfaae00f" providerId="LiveId" clId="{C773D2B4-CDEC-48AD-B505-F91DBBE024B6}" dt="2024-08-26T14:16:01.056" v="37681" actId="20577"/>
        <pc:sldMkLst>
          <pc:docMk/>
          <pc:sldMk cId="629802703" sldId="1825"/>
        </pc:sldMkLst>
      </pc:sldChg>
      <pc:sldChg chg="modSp mod modNotesTx">
        <pc:chgData name="Vikesh Chugani" userId="9c759398cfaae00f" providerId="LiveId" clId="{C773D2B4-CDEC-48AD-B505-F91DBBE024B6}" dt="2024-08-26T10:32:56.193" v="36407" actId="33524"/>
        <pc:sldMkLst>
          <pc:docMk/>
          <pc:sldMk cId="3793681604" sldId="1827"/>
        </pc:sldMkLst>
      </pc:sldChg>
      <pc:sldChg chg="modSp mod modNotesTx">
        <pc:chgData name="Vikesh Chugani" userId="9c759398cfaae00f" providerId="LiveId" clId="{C773D2B4-CDEC-48AD-B505-F91DBBE024B6}" dt="2024-08-26T10:40:21.340" v="36812" actId="20577"/>
        <pc:sldMkLst>
          <pc:docMk/>
          <pc:sldMk cId="2942010989" sldId="1829"/>
        </pc:sldMkLst>
      </pc:sldChg>
      <pc:sldChg chg="modSp mod modNotesTx">
        <pc:chgData name="Vikesh Chugani" userId="9c759398cfaae00f" providerId="LiveId" clId="{C773D2B4-CDEC-48AD-B505-F91DBBE024B6}" dt="2024-08-26T14:06:03.300" v="37128" actId="20577"/>
        <pc:sldMkLst>
          <pc:docMk/>
          <pc:sldMk cId="427085251" sldId="1830"/>
        </pc:sldMkLst>
      </pc:sldChg>
      <pc:sldChg chg="modSp mod modNotesTx">
        <pc:chgData name="Vikesh Chugani" userId="9c759398cfaae00f" providerId="LiveId" clId="{C773D2B4-CDEC-48AD-B505-F91DBBE024B6}" dt="2024-08-26T14:07:29.177" v="37231" actId="20577"/>
        <pc:sldMkLst>
          <pc:docMk/>
          <pc:sldMk cId="1406811602" sldId="1831"/>
        </pc:sldMkLst>
      </pc:sldChg>
      <pc:sldChg chg="addSp delSp modSp mod ord modNotesTx">
        <pc:chgData name="Vikesh Chugani" userId="9c759398cfaae00f" providerId="LiveId" clId="{C773D2B4-CDEC-48AD-B505-F91DBBE024B6}" dt="2024-08-27T09:38:18.806" v="40504" actId="20577"/>
        <pc:sldMkLst>
          <pc:docMk/>
          <pc:sldMk cId="2035558656" sldId="1848"/>
        </pc:sldMkLst>
      </pc:sldChg>
      <pc:sldChg chg="del">
        <pc:chgData name="Vikesh Chugani" userId="9c759398cfaae00f" providerId="LiveId" clId="{C773D2B4-CDEC-48AD-B505-F91DBBE024B6}" dt="2024-08-09T14:23:29.665" v="13315" actId="47"/>
        <pc:sldMkLst>
          <pc:docMk/>
          <pc:sldMk cId="1929791135" sldId="1849"/>
        </pc:sldMkLst>
      </pc:sldChg>
      <pc:sldChg chg="del">
        <pc:chgData name="Vikesh Chugani" userId="9c759398cfaae00f" providerId="LiveId" clId="{C773D2B4-CDEC-48AD-B505-F91DBBE024B6}" dt="2024-08-09T14:22:44.973" v="13296" actId="47"/>
        <pc:sldMkLst>
          <pc:docMk/>
          <pc:sldMk cId="1574482433" sldId="1850"/>
        </pc:sldMkLst>
      </pc:sldChg>
      <pc:sldChg chg="del">
        <pc:chgData name="Vikesh Chugani" userId="9c759398cfaae00f" providerId="LiveId" clId="{C773D2B4-CDEC-48AD-B505-F91DBBE024B6}" dt="2024-08-09T14:22:46.276" v="13297" actId="47"/>
        <pc:sldMkLst>
          <pc:docMk/>
          <pc:sldMk cId="1064000352" sldId="1851"/>
        </pc:sldMkLst>
      </pc:sldChg>
      <pc:sldChg chg="del">
        <pc:chgData name="Vikesh Chugani" userId="9c759398cfaae00f" providerId="LiveId" clId="{C773D2B4-CDEC-48AD-B505-F91DBBE024B6}" dt="2024-08-09T14:22:53.556" v="13299" actId="47"/>
        <pc:sldMkLst>
          <pc:docMk/>
          <pc:sldMk cId="971482011" sldId="1852"/>
        </pc:sldMkLst>
      </pc:sldChg>
      <pc:sldChg chg="del">
        <pc:chgData name="Vikesh Chugani" userId="9c759398cfaae00f" providerId="LiveId" clId="{C773D2B4-CDEC-48AD-B505-F91DBBE024B6}" dt="2024-08-09T14:22:57.324" v="13302" actId="47"/>
        <pc:sldMkLst>
          <pc:docMk/>
          <pc:sldMk cId="1368520043" sldId="1853"/>
        </pc:sldMkLst>
      </pc:sldChg>
      <pc:sldChg chg="addSp delSp modSp mod modNotesTx">
        <pc:chgData name="Vikesh Chugani" userId="9c759398cfaae00f" providerId="LiveId" clId="{C773D2B4-CDEC-48AD-B505-F91DBBE024B6}" dt="2024-08-14T15:31:32.226" v="30147" actId="33524"/>
        <pc:sldMkLst>
          <pc:docMk/>
          <pc:sldMk cId="4163091949" sldId="1854"/>
        </pc:sldMkLst>
      </pc:sldChg>
      <pc:sldChg chg="addSp delSp modSp mod modNotesTx">
        <pc:chgData name="Vikesh Chugani" userId="9c759398cfaae00f" providerId="LiveId" clId="{C773D2B4-CDEC-48AD-B505-F91DBBE024B6}" dt="2024-08-27T14:38:57.966" v="41071" actId="20577"/>
        <pc:sldMkLst>
          <pc:docMk/>
          <pc:sldMk cId="325938766" sldId="1855"/>
        </pc:sldMkLst>
      </pc:sldChg>
      <pc:sldChg chg="modSp del mod modShow">
        <pc:chgData name="Vikesh Chugani" userId="9c759398cfaae00f" providerId="LiveId" clId="{C773D2B4-CDEC-48AD-B505-F91DBBE024B6}" dt="2024-08-14T15:55:04.018" v="31465" actId="2696"/>
        <pc:sldMkLst>
          <pc:docMk/>
          <pc:sldMk cId="536704712" sldId="1856"/>
        </pc:sldMkLst>
      </pc:sldChg>
      <pc:sldChg chg="modSp mod">
        <pc:chgData name="Vikesh Chugani" userId="9c759398cfaae00f" providerId="LiveId" clId="{C773D2B4-CDEC-48AD-B505-F91DBBE024B6}" dt="2024-08-09T14:22:33.243" v="13294" actId="108"/>
        <pc:sldMkLst>
          <pc:docMk/>
          <pc:sldMk cId="2140972216" sldId="1857"/>
        </pc:sldMkLst>
      </pc:sldChg>
      <pc:sldChg chg="modSp mod modNotesTx">
        <pc:chgData name="Vikesh Chugani" userId="9c759398cfaae00f" providerId="LiveId" clId="{C773D2B4-CDEC-48AD-B505-F91DBBE024B6}" dt="2024-08-09T14:40:19.948" v="14278"/>
        <pc:sldMkLst>
          <pc:docMk/>
          <pc:sldMk cId="4189467953" sldId="1858"/>
        </pc:sldMkLst>
      </pc:sldChg>
      <pc:sldChg chg="addSp delSp modSp mod modNotesTx">
        <pc:chgData name="Vikesh Chugani" userId="9c759398cfaae00f" providerId="LiveId" clId="{C773D2B4-CDEC-48AD-B505-F91DBBE024B6}" dt="2024-08-26T15:28:51.592" v="39764" actId="20577"/>
        <pc:sldMkLst>
          <pc:docMk/>
          <pc:sldMk cId="4163038130" sldId="1882"/>
        </pc:sldMkLst>
      </pc:sldChg>
      <pc:sldChg chg="addSp delSp modSp mod ord modNotesTx">
        <pc:chgData name="Vikesh Chugani" userId="9c759398cfaae00f" providerId="LiveId" clId="{C773D2B4-CDEC-48AD-B505-F91DBBE024B6}" dt="2024-08-26T08:21:28.686" v="32460" actId="20577"/>
        <pc:sldMkLst>
          <pc:docMk/>
          <pc:sldMk cId="1772530871" sldId="1886"/>
        </pc:sldMkLst>
      </pc:sldChg>
      <pc:sldChg chg="modSp mod modNotesTx">
        <pc:chgData name="Vikesh Chugani" userId="9c759398cfaae00f" providerId="LiveId" clId="{C773D2B4-CDEC-48AD-B505-F91DBBE024B6}" dt="2024-08-27T08:07:21.666" v="40188" actId="20577"/>
        <pc:sldMkLst>
          <pc:docMk/>
          <pc:sldMk cId="2188383503" sldId="1888"/>
        </pc:sldMkLst>
      </pc:sldChg>
      <pc:sldChg chg="modSp mod modNotesTx">
        <pc:chgData name="Vikesh Chugani" userId="9c759398cfaae00f" providerId="LiveId" clId="{C773D2B4-CDEC-48AD-B505-F91DBBE024B6}" dt="2024-08-26T09:51:54.293" v="34052" actId="20577"/>
        <pc:sldMkLst>
          <pc:docMk/>
          <pc:sldMk cId="717876491" sldId="1890"/>
        </pc:sldMkLst>
      </pc:sldChg>
      <pc:sldChg chg="modSp mod modNotesTx">
        <pc:chgData name="Vikesh Chugani" userId="9c759398cfaae00f" providerId="LiveId" clId="{C773D2B4-CDEC-48AD-B505-F91DBBE024B6}" dt="2024-08-26T09:56:48.965" v="34169" actId="20577"/>
        <pc:sldMkLst>
          <pc:docMk/>
          <pc:sldMk cId="2017138224" sldId="1892"/>
        </pc:sldMkLst>
      </pc:sldChg>
      <pc:sldChg chg="modSp add del mod">
        <pc:chgData name="Vikesh Chugani" userId="9c759398cfaae00f" providerId="LiveId" clId="{C773D2B4-CDEC-48AD-B505-F91DBBE024B6}" dt="2024-08-27T09:33:50.028" v="40478" actId="47"/>
        <pc:sldMkLst>
          <pc:docMk/>
          <pc:sldMk cId="1821538331" sldId="1893"/>
        </pc:sldMkLst>
      </pc:sldChg>
      <pc:sldChg chg="del">
        <pc:chgData name="Vikesh Chugani" userId="9c759398cfaae00f" providerId="LiveId" clId="{C773D2B4-CDEC-48AD-B505-F91DBBE024B6}" dt="2024-08-09T09:25:41.926" v="7079" actId="47"/>
        <pc:sldMkLst>
          <pc:docMk/>
          <pc:sldMk cId="3756175469" sldId="1893"/>
        </pc:sldMkLst>
      </pc:sldChg>
      <pc:sldChg chg="del">
        <pc:chgData name="Vikesh Chugani" userId="9c759398cfaae00f" providerId="LiveId" clId="{C773D2B4-CDEC-48AD-B505-F91DBBE024B6}" dt="2024-08-09T09:25:41.926" v="7079" actId="47"/>
        <pc:sldMkLst>
          <pc:docMk/>
          <pc:sldMk cId="3517768538" sldId="1895"/>
        </pc:sldMkLst>
      </pc:sldChg>
      <pc:sldChg chg="del">
        <pc:chgData name="Vikesh Chugani" userId="9c759398cfaae00f" providerId="LiveId" clId="{C773D2B4-CDEC-48AD-B505-F91DBBE024B6}" dt="2024-08-09T09:25:41.926" v="7079" actId="47"/>
        <pc:sldMkLst>
          <pc:docMk/>
          <pc:sldMk cId="2442572947" sldId="1897"/>
        </pc:sldMkLst>
      </pc:sldChg>
      <pc:sldChg chg="modSp mod modNotesTx">
        <pc:chgData name="Vikesh Chugani" userId="9c759398cfaae00f" providerId="LiveId" clId="{C773D2B4-CDEC-48AD-B505-F91DBBE024B6}" dt="2024-08-26T10:23:25.426" v="35668" actId="20577"/>
        <pc:sldMkLst>
          <pc:docMk/>
          <pc:sldMk cId="1485772295" sldId="1898"/>
        </pc:sldMkLst>
      </pc:sldChg>
      <pc:sldChg chg="addSp modSp mod modNotesTx">
        <pc:chgData name="Vikesh Chugani" userId="9c759398cfaae00f" providerId="LiveId" clId="{C773D2B4-CDEC-48AD-B505-F91DBBE024B6}" dt="2024-08-26T14:32:39.423" v="38202"/>
        <pc:sldMkLst>
          <pc:docMk/>
          <pc:sldMk cId="1681706587" sldId="1900"/>
        </pc:sldMkLst>
      </pc:sldChg>
      <pc:sldChg chg="del">
        <pc:chgData name="Vikesh Chugani" userId="9c759398cfaae00f" providerId="LiveId" clId="{C773D2B4-CDEC-48AD-B505-F91DBBE024B6}" dt="2024-08-09T09:25:41.926" v="7079" actId="47"/>
        <pc:sldMkLst>
          <pc:docMk/>
          <pc:sldMk cId="137598499" sldId="1901"/>
        </pc:sldMkLst>
      </pc:sldChg>
      <pc:sldChg chg="del">
        <pc:chgData name="Vikesh Chugani" userId="9c759398cfaae00f" providerId="LiveId" clId="{C773D2B4-CDEC-48AD-B505-F91DBBE024B6}" dt="2024-08-09T14:47:52.086" v="14330" actId="47"/>
        <pc:sldMkLst>
          <pc:docMk/>
          <pc:sldMk cId="911338756" sldId="1903"/>
        </pc:sldMkLst>
      </pc:sldChg>
      <pc:sldChg chg="modSp mod modNotesTx">
        <pc:chgData name="Vikesh Chugani" userId="9c759398cfaae00f" providerId="LiveId" clId="{C773D2B4-CDEC-48AD-B505-F91DBBE024B6}" dt="2024-08-26T14:50:31.764" v="38595" actId="6549"/>
        <pc:sldMkLst>
          <pc:docMk/>
          <pc:sldMk cId="2889919238" sldId="1904"/>
        </pc:sldMkLst>
      </pc:sldChg>
      <pc:sldChg chg="addSp delSp modSp mod modNotesTx">
        <pc:chgData name="Vikesh Chugani" userId="9c759398cfaae00f" providerId="LiveId" clId="{C773D2B4-CDEC-48AD-B505-F91DBBE024B6}" dt="2024-08-26T14:32:11.596" v="38199"/>
        <pc:sldMkLst>
          <pc:docMk/>
          <pc:sldMk cId="83805420" sldId="1905"/>
        </pc:sldMkLst>
      </pc:sldChg>
      <pc:sldChg chg="modSp add del mod modNotesTx">
        <pc:chgData name="Vikesh Chugani" userId="9c759398cfaae00f" providerId="LiveId" clId="{C773D2B4-CDEC-48AD-B505-F91DBBE024B6}" dt="2024-08-27T09:33:48.889" v="40477" actId="47"/>
        <pc:sldMkLst>
          <pc:docMk/>
          <pc:sldMk cId="2647188042" sldId="1906"/>
        </pc:sldMkLst>
      </pc:sldChg>
      <pc:sldChg chg="modSp mod modNotesTx">
        <pc:chgData name="Vikesh Chugani" userId="9c759398cfaae00f" providerId="LiveId" clId="{C773D2B4-CDEC-48AD-B505-F91DBBE024B6}" dt="2024-08-26T14:58:15.288" v="39174" actId="12"/>
        <pc:sldMkLst>
          <pc:docMk/>
          <pc:sldMk cId="3282249227" sldId="1907"/>
        </pc:sldMkLst>
      </pc:sldChg>
      <pc:sldChg chg="addSp delSp modSp mod modNotesTx">
        <pc:chgData name="Vikesh Chugani" userId="9c759398cfaae00f" providerId="LiveId" clId="{C773D2B4-CDEC-48AD-B505-F91DBBE024B6}" dt="2024-08-26T15:23:12.416" v="39579" actId="20577"/>
        <pc:sldMkLst>
          <pc:docMk/>
          <pc:sldMk cId="1440722758" sldId="1908"/>
        </pc:sldMkLst>
      </pc:sldChg>
      <pc:sldChg chg="addSp delSp modSp mod modNotesTx">
        <pc:chgData name="Vikesh Chugani" userId="9c759398cfaae00f" providerId="LiveId" clId="{C773D2B4-CDEC-48AD-B505-F91DBBE024B6}" dt="2024-08-27T08:49:01.065" v="40358" actId="20577"/>
        <pc:sldMkLst>
          <pc:docMk/>
          <pc:sldMk cId="2884897252" sldId="1909"/>
        </pc:sldMkLst>
      </pc:sldChg>
      <pc:sldChg chg="modSp del mod">
        <pc:chgData name="Vikesh Chugani" userId="9c759398cfaae00f" providerId="LiveId" clId="{C773D2B4-CDEC-48AD-B505-F91DBBE024B6}" dt="2024-08-09T14:16:53.533" v="13235" actId="47"/>
        <pc:sldMkLst>
          <pc:docMk/>
          <pc:sldMk cId="2354776097" sldId="1910"/>
        </pc:sldMkLst>
      </pc:sldChg>
      <pc:sldChg chg="addSp delSp modSp mod ord modNotesTx">
        <pc:chgData name="Vikesh Chugani" userId="9c759398cfaae00f" providerId="LiveId" clId="{C773D2B4-CDEC-48AD-B505-F91DBBE024B6}" dt="2024-08-26T15:34:49.051" v="39951" actId="6549"/>
        <pc:sldMkLst>
          <pc:docMk/>
          <pc:sldMk cId="3365402031" sldId="1911"/>
        </pc:sldMkLst>
      </pc:sldChg>
      <pc:sldChg chg="addSp modSp add mod modNotesTx">
        <pc:chgData name="Vikesh Chugani" userId="9c759398cfaae00f" providerId="LiveId" clId="{C773D2B4-CDEC-48AD-B505-F91DBBE024B6}" dt="2024-08-27T08:15:43.124" v="40194" actId="313"/>
        <pc:sldMkLst>
          <pc:docMk/>
          <pc:sldMk cId="815284837" sldId="1912"/>
        </pc:sldMkLst>
      </pc:sldChg>
      <pc:sldChg chg="add del ord">
        <pc:chgData name="Vikesh Chugani" userId="9c759398cfaae00f" providerId="LiveId" clId="{C773D2B4-CDEC-48AD-B505-F91DBBE024B6}" dt="2024-08-09T10:27:41.980" v="9539" actId="47"/>
        <pc:sldMkLst>
          <pc:docMk/>
          <pc:sldMk cId="240416475" sldId="1913"/>
        </pc:sldMkLst>
      </pc:sldChg>
      <pc:sldChg chg="modSp del mod">
        <pc:chgData name="Vikesh Chugani" userId="9c759398cfaae00f" providerId="LiveId" clId="{C773D2B4-CDEC-48AD-B505-F91DBBE024B6}" dt="2024-08-09T10:12:14.063" v="8998" actId="47"/>
        <pc:sldMkLst>
          <pc:docMk/>
          <pc:sldMk cId="313567894" sldId="1913"/>
        </pc:sldMkLst>
      </pc:sldChg>
      <pc:sldChg chg="addSp delSp modSp add mod modNotesTx">
        <pc:chgData name="Vikesh Chugani" userId="9c759398cfaae00f" providerId="LiveId" clId="{C773D2B4-CDEC-48AD-B505-F91DBBE024B6}" dt="2024-08-27T09:37:22.592" v="40495"/>
        <pc:sldMkLst>
          <pc:docMk/>
          <pc:sldMk cId="3582559601" sldId="1914"/>
        </pc:sldMkLst>
      </pc:sldChg>
      <pc:sldChg chg="add modNotesTx">
        <pc:chgData name="Vikesh Chugani" userId="9c759398cfaae00f" providerId="LiveId" clId="{C773D2B4-CDEC-48AD-B505-F91DBBE024B6}" dt="2024-08-14T11:52:41.840" v="24818" actId="20577"/>
        <pc:sldMkLst>
          <pc:docMk/>
          <pc:sldMk cId="2059764473" sldId="1915"/>
        </pc:sldMkLst>
      </pc:sldChg>
      <pc:sldChg chg="addSp delSp modSp new mod modNotesTx">
        <pc:chgData name="Vikesh Chugani" userId="9c759398cfaae00f" providerId="LiveId" clId="{C773D2B4-CDEC-48AD-B505-F91DBBE024B6}" dt="2024-08-26T15:21:17.792" v="39577" actId="20577"/>
        <pc:sldMkLst>
          <pc:docMk/>
          <pc:sldMk cId="2521280247" sldId="1916"/>
        </pc:sldMkLst>
      </pc:sldChg>
      <pc:sldChg chg="addSp modSp add del mod">
        <pc:chgData name="Vikesh Chugani" userId="9c759398cfaae00f" providerId="LiveId" clId="{C773D2B4-CDEC-48AD-B505-F91DBBE024B6}" dt="2024-08-14T07:06:47.968" v="15312" actId="47"/>
        <pc:sldMkLst>
          <pc:docMk/>
          <pc:sldMk cId="42493713" sldId="1917"/>
        </pc:sldMkLst>
      </pc:sldChg>
      <pc:sldChg chg="addSp delSp modSp new mod modNotesTx">
        <pc:chgData name="Vikesh Chugani" userId="9c759398cfaae00f" providerId="LiveId" clId="{C773D2B4-CDEC-48AD-B505-F91DBBE024B6}" dt="2024-08-27T08:54:55.277" v="40361"/>
        <pc:sldMkLst>
          <pc:docMk/>
          <pc:sldMk cId="3237365783" sldId="1918"/>
        </pc:sldMkLst>
      </pc:sldChg>
      <pc:sldChg chg="add modNotesTx">
        <pc:chgData name="Vikesh Chugani" userId="9c759398cfaae00f" providerId="LiveId" clId="{C773D2B4-CDEC-48AD-B505-F91DBBE024B6}" dt="2024-08-09T14:33:57.370" v="13840"/>
        <pc:sldMkLst>
          <pc:docMk/>
          <pc:sldMk cId="4210637564" sldId="1919"/>
        </pc:sldMkLst>
      </pc:sldChg>
      <pc:sldChg chg="addSp delSp modSp add mod">
        <pc:chgData name="Vikesh Chugani" userId="9c759398cfaae00f" providerId="LiveId" clId="{C773D2B4-CDEC-48AD-B505-F91DBBE024B6}" dt="2024-08-09T14:39:23.632" v="14277" actId="404"/>
        <pc:sldMkLst>
          <pc:docMk/>
          <pc:sldMk cId="1290931714" sldId="1920"/>
        </pc:sldMkLst>
      </pc:sldChg>
      <pc:sldChg chg="addSp delSp modSp new mod modNotesTx">
        <pc:chgData name="Vikesh Chugani" userId="9c759398cfaae00f" providerId="LiveId" clId="{C773D2B4-CDEC-48AD-B505-F91DBBE024B6}" dt="2024-08-27T09:33:38.717" v="40476"/>
        <pc:sldMkLst>
          <pc:docMk/>
          <pc:sldMk cId="654855700" sldId="1921"/>
        </pc:sldMkLst>
      </pc:sldChg>
      <pc:sldChg chg="addSp modSp add del mod">
        <pc:chgData name="Vikesh Chugani" userId="9c759398cfaae00f" providerId="LiveId" clId="{C773D2B4-CDEC-48AD-B505-F91DBBE024B6}" dt="2024-08-21T14:22:11.809" v="31726" actId="47"/>
        <pc:sldMkLst>
          <pc:docMk/>
          <pc:sldMk cId="1332991534" sldId="1921"/>
        </pc:sldMkLst>
      </pc:sldChg>
      <pc:sldChg chg="new del">
        <pc:chgData name="Vikesh Chugani" userId="9c759398cfaae00f" providerId="LiveId" clId="{C773D2B4-CDEC-48AD-B505-F91DBBE024B6}" dt="2024-08-27T09:33:24.041" v="40465" actId="47"/>
        <pc:sldMkLst>
          <pc:docMk/>
          <pc:sldMk cId="1347934614" sldId="1922"/>
        </pc:sldMkLst>
      </pc:sldChg>
      <pc:sldChg chg="addSp delSp modSp new mod modNotesTx">
        <pc:chgData name="Vikesh Chugani" userId="9c759398cfaae00f" providerId="LiveId" clId="{C773D2B4-CDEC-48AD-B505-F91DBBE024B6}" dt="2024-08-27T14:34:47.003" v="41070" actId="20577"/>
        <pc:sldMkLst>
          <pc:docMk/>
          <pc:sldMk cId="4136258358" sldId="1924"/>
        </pc:sldMkLst>
      </pc:sldChg>
      <pc:sldMasterChg chg="delSldLayout">
        <pc:chgData name="Vikesh Chugani" userId="9c759398cfaae00f" providerId="LiveId" clId="{C773D2B4-CDEC-48AD-B505-F91DBBE024B6}" dt="2024-08-09T08:02:43.566" v="4030" actId="47"/>
        <pc:sldMasterMkLst>
          <pc:docMk/>
          <pc:sldMasterMk cId="0" sldId="2147483648"/>
        </pc:sldMasterMkLst>
        <pc:sldLayoutChg chg="del">
          <pc:chgData name="Vikesh Chugani" userId="9c759398cfaae00f" providerId="LiveId" clId="{C773D2B4-CDEC-48AD-B505-F91DBBE024B6}" dt="2024-08-09T08:02:43.566" v="4030" actId="47"/>
          <pc:sldLayoutMkLst>
            <pc:docMk/>
            <pc:sldMasterMk cId="0" sldId="2147483648"/>
            <pc:sldLayoutMk cId="302502250" sldId="2147483661"/>
          </pc:sldLayoutMkLst>
        </pc:sldLayoutChg>
      </pc:sldMasterChg>
      <pc:sldMasterChg chg="del delSldLayout">
        <pc:chgData name="Vikesh Chugani" userId="9c759398cfaae00f" providerId="LiveId" clId="{C773D2B4-CDEC-48AD-B505-F91DBBE024B6}" dt="2024-08-09T09:25:41.926" v="7079" actId="47"/>
        <pc:sldMasterMkLst>
          <pc:docMk/>
          <pc:sldMasterMk cId="860644662" sldId="2147483664"/>
        </pc:sldMasterMkLst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860644662" sldId="2147483664"/>
            <pc:sldLayoutMk cId="605886082" sldId="2147483665"/>
          </pc:sldLayoutMkLst>
        </pc:sldLayoutChg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860644662" sldId="2147483664"/>
            <pc:sldLayoutMk cId="3316045884" sldId="2147483666"/>
          </pc:sldLayoutMkLst>
        </pc:sldLayoutChg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860644662" sldId="2147483664"/>
            <pc:sldLayoutMk cId="2223013084" sldId="2147483667"/>
          </pc:sldLayoutMkLst>
        </pc:sldLayoutChg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860644662" sldId="2147483664"/>
            <pc:sldLayoutMk cId="686729885" sldId="2147483668"/>
          </pc:sldLayoutMkLst>
        </pc:sldLayoutChg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860644662" sldId="2147483664"/>
            <pc:sldLayoutMk cId="2896307518" sldId="2147483669"/>
          </pc:sldLayoutMkLst>
        </pc:sldLayoutChg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860644662" sldId="2147483664"/>
            <pc:sldLayoutMk cId="2507867920" sldId="2147483670"/>
          </pc:sldLayoutMkLst>
        </pc:sldLayoutChg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860644662" sldId="2147483664"/>
            <pc:sldLayoutMk cId="4213860928" sldId="2147483671"/>
          </pc:sldLayoutMkLst>
        </pc:sldLayoutChg>
      </pc:sldMasterChg>
      <pc:sldMasterChg chg="del delSldLayout">
        <pc:chgData name="Vikesh Chugani" userId="9c759398cfaae00f" providerId="LiveId" clId="{C773D2B4-CDEC-48AD-B505-F91DBBE024B6}" dt="2024-08-09T09:25:41.926" v="7079" actId="47"/>
        <pc:sldMasterMkLst>
          <pc:docMk/>
          <pc:sldMasterMk cId="3668582309" sldId="2147483672"/>
        </pc:sldMasterMkLst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3668582309" sldId="2147483672"/>
            <pc:sldLayoutMk cId="3752058334" sldId="2147483673"/>
          </pc:sldLayoutMkLst>
        </pc:sldLayoutChg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3668582309" sldId="2147483672"/>
            <pc:sldLayoutMk cId="2912720236" sldId="2147483674"/>
          </pc:sldLayoutMkLst>
        </pc:sldLayoutChg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3668582309" sldId="2147483672"/>
            <pc:sldLayoutMk cId="1692939641" sldId="2147483675"/>
          </pc:sldLayoutMkLst>
        </pc:sldLayoutChg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3668582309" sldId="2147483672"/>
            <pc:sldLayoutMk cId="111695250" sldId="2147483676"/>
          </pc:sldLayoutMkLst>
        </pc:sldLayoutChg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3668582309" sldId="2147483672"/>
            <pc:sldLayoutMk cId="2789802749" sldId="2147483677"/>
          </pc:sldLayoutMkLst>
        </pc:sldLayoutChg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3668582309" sldId="2147483672"/>
            <pc:sldLayoutMk cId="3516568111" sldId="2147483678"/>
          </pc:sldLayoutMkLst>
        </pc:sldLayoutChg>
        <pc:sldLayoutChg chg="del">
          <pc:chgData name="Vikesh Chugani" userId="9c759398cfaae00f" providerId="LiveId" clId="{C773D2B4-CDEC-48AD-B505-F91DBBE024B6}" dt="2024-08-09T09:25:41.926" v="7079" actId="47"/>
          <pc:sldLayoutMkLst>
            <pc:docMk/>
            <pc:sldMasterMk cId="3668582309" sldId="2147483672"/>
            <pc:sldLayoutMk cId="325863907" sldId="2147483679"/>
          </pc:sldLayoutMkLst>
        </pc:sldLayoutChg>
      </pc:sldMasterChg>
      <pc:sldMasterChg chg="del addSldLayout delSldLayout">
        <pc:chgData name="Vikesh Chugani" userId="9c759398cfaae00f" providerId="LiveId" clId="{C773D2B4-CDEC-48AD-B505-F91DBBE024B6}" dt="2024-08-27T09:34:44.905" v="40490" actId="47"/>
        <pc:sldMasterMkLst>
          <pc:docMk/>
          <pc:sldMasterMk cId="3935349751" sldId="2147483680"/>
        </pc:sldMasterMkLst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2352870600" sldId="2147483681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1480055064" sldId="2147483682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964900193" sldId="2147483683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1566054624" sldId="2147483684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1139258168" sldId="2147483685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1821965377" sldId="2147483686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2465321791" sldId="2147483687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3743186639" sldId="2147483688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1128429530" sldId="2147483689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3405606156" sldId="2147483690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1371882426" sldId="2147483691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2297409868" sldId="2147483692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893437695" sldId="2147483693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2809455781" sldId="2147483694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548180707" sldId="2147483695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2644151371" sldId="2147483696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981689385" sldId="2147483697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2209697579" sldId="2147483698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620837306" sldId="2147483699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3054425218" sldId="2147483700"/>
          </pc:sldLayoutMkLst>
        </pc:sldLayoutChg>
        <pc:sldLayoutChg chg="del">
          <pc:chgData name="Vikesh Chugani" userId="9c759398cfaae00f" providerId="LiveId" clId="{C773D2B4-CDEC-48AD-B505-F91DBBE024B6}" dt="2024-08-27T09:34:44.905" v="40490" actId="47"/>
          <pc:sldLayoutMkLst>
            <pc:docMk/>
            <pc:sldMasterMk cId="3935349751" sldId="2147483680"/>
            <pc:sldLayoutMk cId="3372393434" sldId="2147483701"/>
          </pc:sldLayoutMkLst>
        </pc:sldLayoutChg>
        <pc:sldLayoutChg chg="add del">
          <pc:chgData name="Vikesh Chugani" userId="9c759398cfaae00f" providerId="LiveId" clId="{C773D2B4-CDEC-48AD-B505-F91DBBE024B6}" dt="2024-08-27T09:33:50.028" v="40478" actId="47"/>
          <pc:sldLayoutMkLst>
            <pc:docMk/>
            <pc:sldMasterMk cId="3935349751" sldId="2147483680"/>
            <pc:sldLayoutMk cId="741991437" sldId="2147483786"/>
          </pc:sldLayoutMkLst>
        </pc:sldLayoutChg>
      </pc:sldMasterChg>
      <pc:sldMasterChg chg="modSp del mod delSldLayout">
        <pc:chgData name="Vikesh Chugani" userId="9c759398cfaae00f" providerId="LiveId" clId="{C773D2B4-CDEC-48AD-B505-F91DBBE024B6}" dt="2024-08-09T13:37:35.946" v="10599" actId="47"/>
        <pc:sldMasterMkLst>
          <pc:docMk/>
          <pc:sldMasterMk cId="3241145235" sldId="2147483770"/>
        </pc:sldMasterMkLst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2762477811" sldId="2147483771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1102190477" sldId="2147483772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3942468693" sldId="2147483773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2145016593" sldId="2147483774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1373628186" sldId="2147483775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1536301802" sldId="2147483776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102682895" sldId="2147483777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4156189586" sldId="2147483778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1308265678" sldId="2147483779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3126742518" sldId="2147483780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3367239981" sldId="2147483781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2935481516" sldId="2147483782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752254354" sldId="2147483783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2883777151" sldId="2147483784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1557146865" sldId="2147483785"/>
          </pc:sldLayoutMkLst>
        </pc:sldLayoutChg>
        <pc:sldLayoutChg chg="del">
          <pc:chgData name="Vikesh Chugani" userId="9c759398cfaae00f" providerId="LiveId" clId="{C773D2B4-CDEC-48AD-B505-F91DBBE024B6}" dt="2024-08-09T13:37:35.946" v="10599" actId="47"/>
          <pc:sldLayoutMkLst>
            <pc:docMk/>
            <pc:sldMasterMk cId="3241145235" sldId="2147483770"/>
            <pc:sldLayoutMk cId="2334053749" sldId="2147483786"/>
          </pc:sldLayoutMkLst>
        </pc:sldLayoutChg>
      </pc:sldMasterChg>
      <pc:sldMasterChg chg="modSp del mod delSldLayout">
        <pc:chgData name="Vikesh Chugani" userId="9c759398cfaae00f" providerId="LiveId" clId="{C773D2B4-CDEC-48AD-B505-F91DBBE024B6}" dt="2024-08-09T10:12:14.063" v="8998" actId="47"/>
        <pc:sldMasterMkLst>
          <pc:docMk/>
          <pc:sldMasterMk cId="3529173775" sldId="2147483770"/>
        </pc:sldMasterMkLst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1844217596" sldId="2147483771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3048943261" sldId="2147483772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3382954991" sldId="2147483773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379121214" sldId="2147483774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3328840473" sldId="2147483775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1460650049" sldId="2147483776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131762183" sldId="2147483777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3143483135" sldId="2147483778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1203828668" sldId="2147483779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1946051407" sldId="2147483780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897540959" sldId="2147483781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4264415412" sldId="2147483782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3942777985" sldId="2147483783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2103007079" sldId="2147483784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3442019595" sldId="2147483785"/>
          </pc:sldLayoutMkLst>
        </pc:sldLayoutChg>
        <pc:sldLayoutChg chg="del">
          <pc:chgData name="Vikesh Chugani" userId="9c759398cfaae00f" providerId="LiveId" clId="{C773D2B4-CDEC-48AD-B505-F91DBBE024B6}" dt="2024-08-09T10:12:14.063" v="8998" actId="47"/>
          <pc:sldLayoutMkLst>
            <pc:docMk/>
            <pc:sldMasterMk cId="3529173775" sldId="2147483770"/>
            <pc:sldLayoutMk cId="788204962" sldId="2147483786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A65A61-6C11-4F98-934B-0780FDB920F2}" type="datetimeFigureOut">
              <a:rPr lang="en-GB" smtClean="0"/>
              <a:t>28/08/2025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911D2A-5ADF-482B-B5D1-D913F49D011C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1367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9F57FF-C19F-4C13-8D33-E3160A304BC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885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04600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66CAD1-FD47-46B0-9C16-1B81F4E690E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16840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911D2A-5ADF-482B-B5D1-D913F49D011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1946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95547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en-GB" dirty="0" err="1"/>
              <a:t>Dicke</a:t>
            </a:r>
            <a:r>
              <a:rPr lang="en-GB" dirty="0"/>
              <a:t>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0pt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4294360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</p:spTree>
    <p:extLst>
      <p:ext uri="{BB962C8B-B14F-4D97-AF65-F5344CB8AC3E}">
        <p14:creationId xmlns:p14="http://schemas.microsoft.com/office/powerpoint/2010/main" val="3084442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076761"/>
              </p:ext>
            </p:extLst>
          </p:nvPr>
        </p:nvGraphicFramePr>
        <p:xfrm>
          <a:off x="2382" y="2382"/>
          <a:ext cx="2382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2"/>
          <p:cNvSpPr>
            <a:spLocks noGrp="1"/>
          </p:cNvSpPr>
          <p:nvPr>
            <p:ph idx="1" hasCustomPrompt="1"/>
          </p:nvPr>
        </p:nvSpPr>
        <p:spPr>
          <a:xfrm>
            <a:off x="792001" y="2700001"/>
            <a:ext cx="16669597" cy="6210001"/>
          </a:xfrm>
          <a:prstGeom prst="rect">
            <a:avLst/>
          </a:prstGeom>
        </p:spPr>
        <p:txBody>
          <a:bodyPr vert="horz" lIns="108850" tIns="54425" rIns="108850" bIns="54425" rtlCol="0">
            <a:normAutofit/>
          </a:bodyPr>
          <a:lstStyle>
            <a:lvl1pPr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1pPr>
            <a:lvl2pPr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2pPr>
            <a:lvl3pPr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3pPr>
            <a:lvl4pPr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4pPr>
            <a:lvl5pPr rtl="0">
              <a:lnSpc>
                <a:spcPts val="4106"/>
              </a:lnSpc>
              <a:spcBef>
                <a:spcPts val="0"/>
              </a:spcBef>
              <a:defRPr sz="2999">
                <a:latin typeface="+mn-lt"/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91073" y="2"/>
            <a:ext cx="13754230" cy="1553406"/>
          </a:xfrm>
        </p:spPr>
        <p:txBody>
          <a:bodyPr anchor="ctr" anchorCtr="0">
            <a:noAutofit/>
          </a:bodyPr>
          <a:lstStyle>
            <a:lvl1pPr marL="0" indent="0" rtl="0">
              <a:buNone/>
              <a:defRPr sz="3749" b="1"/>
            </a:lvl1pPr>
            <a:lvl2pPr marL="646168" indent="0">
              <a:buNone/>
              <a:defRPr sz="3749" b="1"/>
            </a:lvl2pPr>
            <a:lvl3pPr marL="1122293" indent="0">
              <a:buNone/>
              <a:defRPr sz="3749" b="1"/>
            </a:lvl3pPr>
            <a:lvl4pPr marL="1598416" indent="0">
              <a:buNone/>
              <a:defRPr sz="3749" b="1"/>
            </a:lvl4pPr>
            <a:lvl5pPr marL="2074541" indent="0">
              <a:buNone/>
              <a:defRPr sz="3749" b="1"/>
            </a:lvl5pPr>
          </a:lstStyle>
          <a:p>
            <a:pPr lvl="0"/>
            <a:r>
              <a:rPr lang="en-GB" dirty="0"/>
              <a:t>1-spaltige </a:t>
            </a:r>
            <a:r>
              <a:rPr lang="en-GB" dirty="0" err="1"/>
              <a:t>Überschrift</a:t>
            </a:r>
            <a:br>
              <a:rPr lang="en-GB" dirty="0"/>
            </a:br>
            <a:r>
              <a:rPr lang="en-GB" dirty="0"/>
              <a:t>2-spaltige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5 pt.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FD9BD27-1F87-4142-ABA6-72E9C4A32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1073" y="1579930"/>
            <a:ext cx="16670525" cy="486000"/>
          </a:xfrm>
        </p:spPr>
        <p:txBody>
          <a:bodyPr>
            <a:noAutofit/>
          </a:bodyPr>
          <a:lstStyle>
            <a:lvl1pPr marL="0" indent="0" rtl="0">
              <a:lnSpc>
                <a:spcPts val="4106"/>
              </a:lnSpc>
              <a:spcBef>
                <a:spcPts val="0"/>
              </a:spcBef>
              <a:buNone/>
              <a:defRPr sz="2999" b="1" baseline="0">
                <a:latin typeface="+mn-lt"/>
              </a:defRPr>
            </a:lvl1pPr>
            <a:lvl2pPr marL="79920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2pPr>
            <a:lvl3pPr marL="1122293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3pPr>
            <a:lvl4pPr marL="1445378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4pPr>
            <a:lvl5pPr marL="1768461" indent="-323085">
              <a:lnSpc>
                <a:spcPts val="4106"/>
              </a:lnSpc>
              <a:spcBef>
                <a:spcPts val="0"/>
              </a:spcBef>
              <a:defRPr sz="3449">
                <a:latin typeface="+mn-lt"/>
              </a:defRPr>
            </a:lvl5pPr>
          </a:lstStyle>
          <a:p>
            <a:pPr lvl="0"/>
            <a:r>
              <a:rPr lang="en-GB" dirty="0" err="1"/>
              <a:t>Dicke</a:t>
            </a:r>
            <a:r>
              <a:rPr lang="en-GB" dirty="0"/>
              <a:t> </a:t>
            </a:r>
            <a:r>
              <a:rPr lang="en-GB" dirty="0" err="1"/>
              <a:t>Überschrif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20pt</a:t>
            </a:r>
          </a:p>
        </p:txBody>
      </p:sp>
    </p:spTree>
    <p:extLst>
      <p:ext uri="{BB962C8B-B14F-4D97-AF65-F5344CB8AC3E}">
        <p14:creationId xmlns:p14="http://schemas.microsoft.com/office/powerpoint/2010/main" val="93576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8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8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5CB4C6F-FD9C-00C6-DC32-0CDAA604C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64800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6" imgW="454" imgH="454" progId="TCLayout.ActiveDocument.1">
                  <p:embed/>
                </p:oleObj>
              </mc:Choice>
              <mc:Fallback>
                <p:oleObj name="Diapositiva de think-cell" r:id="rId16" imgW="454" imgH="45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CB4C6F-FD9C-00C6-DC32-0CDAA604C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Freeform 2">
            <a:extLst>
              <a:ext uri="{FF2B5EF4-FFF2-40B4-BE49-F238E27FC236}">
                <a16:creationId xmlns:a16="http://schemas.microsoft.com/office/drawing/2014/main" id="{45EC0BBF-61F0-C974-130F-FECC91710360}"/>
              </a:ext>
            </a:extLst>
          </p:cNvPr>
          <p:cNvSpPr/>
          <p:nvPr userDrawn="1"/>
        </p:nvSpPr>
        <p:spPr>
          <a:xfrm>
            <a:off x="12221817" y="9040070"/>
            <a:ext cx="5037483" cy="850092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18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  <p:sp>
        <p:nvSpPr>
          <p:cNvPr id="9" name="Freeform 3">
            <a:extLst>
              <a:ext uri="{FF2B5EF4-FFF2-40B4-BE49-F238E27FC236}">
                <a16:creationId xmlns:a16="http://schemas.microsoft.com/office/drawing/2014/main" id="{EDE3AF09-CF7B-FB32-AD20-AFD8B32AA2C3}"/>
              </a:ext>
            </a:extLst>
          </p:cNvPr>
          <p:cNvSpPr/>
          <p:nvPr userDrawn="1"/>
        </p:nvSpPr>
        <p:spPr>
          <a:xfrm>
            <a:off x="1028700" y="9040070"/>
            <a:ext cx="2257552" cy="951609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19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40" userDrawn="1">
          <p15:clr>
            <a:srgbClr val="F26B43"/>
          </p15:clr>
        </p15:guide>
        <p15:guide id="2" pos="57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689" y="238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01" imgH="298" progId="TCLayout.ActiveDocument.1">
                  <p:embed/>
                </p:oleObj>
              </mc:Choice>
              <mc:Fallback>
                <p:oleObj name="Diapositiva de think-cell" r:id="rId4" imgW="301" imgH="29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89" y="238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 vert="horz" lIns="163237" tIns="81619" rIns="163237" bIns="81619" rtlCol="0" anchor="ctr" anchorCtr="0">
            <a:noAutofit/>
          </a:bodyPr>
          <a:lstStyle/>
          <a:p>
            <a:r>
              <a:rPr lang="en-GB" sz="3600" dirty="0">
                <a:solidFill>
                  <a:srgbClr val="333089"/>
                </a:solidFill>
                <a:latin typeface="Titillium Web Bold"/>
                <a:cs typeface="+mn-cs"/>
              </a:rPr>
              <a:t>Case study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E1C9E90C-633C-4996-97F5-0C14C211D0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4094" y="1579930"/>
            <a:ext cx="16664498" cy="486000"/>
          </a:xfrm>
        </p:spPr>
        <p:txBody>
          <a:bodyPr>
            <a:noAutofit/>
          </a:bodyPr>
          <a:lstStyle>
            <a:lvl1pPr marL="0" indent="0">
              <a:lnSpc>
                <a:spcPts val="2738"/>
              </a:lnSpc>
              <a:spcBef>
                <a:spcPts val="0"/>
              </a:spcBef>
              <a:buNone/>
              <a:defRPr sz="2000" b="1" baseline="0">
                <a:latin typeface="+mn-lt"/>
              </a:defRPr>
            </a:lvl1pPr>
            <a:lvl2pPr marL="532912" indent="-215433">
              <a:lnSpc>
                <a:spcPts val="2738"/>
              </a:lnSpc>
              <a:spcBef>
                <a:spcPts val="0"/>
              </a:spcBef>
              <a:defRPr sz="2300">
                <a:latin typeface="+mn-lt"/>
              </a:defRPr>
            </a:lvl2pPr>
            <a:lvl3pPr marL="748345" indent="-215433">
              <a:lnSpc>
                <a:spcPts val="2738"/>
              </a:lnSpc>
              <a:spcBef>
                <a:spcPts val="0"/>
              </a:spcBef>
              <a:defRPr sz="2300">
                <a:latin typeface="+mn-lt"/>
              </a:defRPr>
            </a:lvl3pPr>
            <a:lvl4pPr marL="963778" indent="-215433">
              <a:lnSpc>
                <a:spcPts val="2738"/>
              </a:lnSpc>
              <a:spcBef>
                <a:spcPts val="0"/>
              </a:spcBef>
              <a:defRPr sz="2300">
                <a:latin typeface="+mn-lt"/>
              </a:defRPr>
            </a:lvl4pPr>
            <a:lvl5pPr marL="1179210" indent="-215433">
              <a:lnSpc>
                <a:spcPts val="2738"/>
              </a:lnSpc>
              <a:spcBef>
                <a:spcPts val="0"/>
              </a:spcBef>
              <a:defRPr sz="2300">
                <a:latin typeface="+mn-lt"/>
              </a:defRPr>
            </a:lvl5pPr>
          </a:lstStyle>
          <a:p>
            <a:r>
              <a:rPr lang="en-GB" sz="3000" dirty="0"/>
              <a:t>Practice with your own value chain</a:t>
            </a:r>
          </a:p>
        </p:txBody>
      </p:sp>
      <p:sp>
        <p:nvSpPr>
          <p:cNvPr id="11" name="Abgerundetes Rechteck 20">
            <a:extLst>
              <a:ext uri="{FF2B5EF4-FFF2-40B4-BE49-F238E27FC236}">
                <a16:creationId xmlns:a16="http://schemas.microsoft.com/office/drawing/2014/main" id="{65508CD6-0620-4898-AE34-5B3E269A0073}"/>
              </a:ext>
            </a:extLst>
          </p:cNvPr>
          <p:cNvSpPr/>
          <p:nvPr/>
        </p:nvSpPr>
        <p:spPr>
          <a:xfrm>
            <a:off x="505040" y="2443827"/>
            <a:ext cx="17154135" cy="1225300"/>
          </a:xfrm>
          <a:prstGeom prst="roundRect">
            <a:avLst/>
          </a:prstGeom>
          <a:solidFill>
            <a:schemeClr val="accent1"/>
          </a:solidFill>
          <a:ln w="28575" cap="flat" cmpd="sng" algn="ctr">
            <a:noFill/>
            <a:prstDash val="solid"/>
          </a:ln>
          <a:effectLst/>
        </p:spPr>
        <p:txBody>
          <a:bodyPr lIns="215950" tIns="0" rIns="215950" bIns="0" rtlCol="0" anchor="ctr"/>
          <a:lstStyle/>
          <a:p>
            <a:pPr defTabSz="914400">
              <a:spcAft>
                <a:spcPts val="600"/>
              </a:spcAft>
            </a:pPr>
            <a:r>
              <a:rPr lang="en-GB" altLang="de-DE" sz="3600" dirty="0">
                <a:solidFill>
                  <a:schemeClr val="bg1"/>
                </a:solidFill>
              </a:rPr>
              <a:t>Search for </a:t>
            </a:r>
            <a:r>
              <a:rPr lang="en-GB" altLang="de-DE" sz="3600" b="1" dirty="0">
                <a:solidFill>
                  <a:schemeClr val="bg1"/>
                </a:solidFill>
              </a:rPr>
              <a:t>existing supply chains / value chains in your value creation system </a:t>
            </a:r>
            <a:r>
              <a:rPr lang="en-GB" altLang="de-DE" sz="3600" dirty="0">
                <a:solidFill>
                  <a:schemeClr val="bg1"/>
                </a:solidFill>
              </a:rPr>
              <a:t>to get a better understanding of the organisations and activities involved! </a:t>
            </a:r>
            <a:endParaRPr lang="en-GB" altLang="de-DE" sz="3600" b="1" dirty="0">
              <a:solidFill>
                <a:schemeClr val="bg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B0BA79B-7BB2-49E0-8385-4AE4ED590FDE}"/>
              </a:ext>
            </a:extLst>
          </p:cNvPr>
          <p:cNvSpPr/>
          <p:nvPr/>
        </p:nvSpPr>
        <p:spPr>
          <a:xfrm>
            <a:off x="719898" y="3883611"/>
            <a:ext cx="10691829" cy="32564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5663" indent="-685663" defTabSz="1371326">
              <a:spcAft>
                <a:spcPts val="450"/>
              </a:spcAft>
              <a:buFontTx/>
              <a:buAutoNum type="arabicPeriod"/>
            </a:pPr>
            <a:r>
              <a:rPr lang="en-GB" sz="2699" dirty="0">
                <a:solidFill>
                  <a:srgbClr val="4B4B4B"/>
                </a:solidFill>
                <a:latin typeface="Calibri"/>
              </a:rPr>
              <a:t>What is the set of activities to solve the problem in the addressed application field(s)? </a:t>
            </a:r>
          </a:p>
          <a:p>
            <a:pPr marL="685663" indent="-685663" defTabSz="1371326">
              <a:spcAft>
                <a:spcPts val="450"/>
              </a:spcAft>
              <a:buFontTx/>
              <a:buAutoNum type="arabicPeriod"/>
            </a:pPr>
            <a:r>
              <a:rPr lang="en-GB" sz="2699" dirty="0">
                <a:solidFill>
                  <a:srgbClr val="4B4B4B"/>
                </a:solidFill>
                <a:latin typeface="Calibri"/>
              </a:rPr>
              <a:t>Who is involved in the value creation? </a:t>
            </a:r>
          </a:p>
          <a:p>
            <a:pPr marL="1501876" lvl="1" indent="-685663" defTabSz="1371326">
              <a:spcAft>
                <a:spcPts val="450"/>
              </a:spcAft>
              <a:buFont typeface="+mj-lt"/>
              <a:buAutoNum type="alphaLcPeriod"/>
            </a:pPr>
            <a:r>
              <a:rPr lang="en-GB" sz="2699" dirty="0">
                <a:solidFill>
                  <a:srgbClr val="4B4B4B"/>
                </a:solidFill>
                <a:latin typeface="Calibri"/>
              </a:rPr>
              <a:t>List relevant stakeholders and connect the value creation system </a:t>
            </a:r>
            <a:r>
              <a:rPr lang="en-GB" sz="2699" u="sng" dirty="0">
                <a:solidFill>
                  <a:srgbClr val="4B4B4B"/>
                </a:solidFill>
                <a:latin typeface="Calibri"/>
              </a:rPr>
              <a:t>or</a:t>
            </a:r>
          </a:p>
          <a:p>
            <a:pPr marL="1501876" lvl="1" indent="-685663" defTabSz="1371326">
              <a:spcAft>
                <a:spcPts val="450"/>
              </a:spcAft>
              <a:buFont typeface="+mj-lt"/>
              <a:buAutoNum type="alphaLcPeriod"/>
            </a:pPr>
            <a:r>
              <a:rPr lang="en-GB" sz="2699" dirty="0">
                <a:solidFill>
                  <a:srgbClr val="4B4B4B"/>
                </a:solidFill>
                <a:latin typeface="Calibri"/>
              </a:rPr>
              <a:t>Search for existing value creation systems online and adapt.</a:t>
            </a:r>
          </a:p>
          <a:p>
            <a:pPr marL="685663" indent="-685663" defTabSz="1371326">
              <a:spcAft>
                <a:spcPts val="450"/>
              </a:spcAft>
              <a:buFontTx/>
              <a:buAutoNum type="arabicPeriod"/>
            </a:pPr>
            <a:r>
              <a:rPr lang="en-GB" sz="2699" dirty="0">
                <a:solidFill>
                  <a:srgbClr val="4B4B4B"/>
                </a:solidFill>
                <a:latin typeface="Calibri"/>
              </a:rPr>
              <a:t>Position yourself. Identify target groups, competitors and partners.</a:t>
            </a:r>
          </a:p>
        </p:txBody>
      </p:sp>
    </p:spTree>
    <p:extLst>
      <p:ext uri="{BB962C8B-B14F-4D97-AF65-F5344CB8AC3E}">
        <p14:creationId xmlns:p14="http://schemas.microsoft.com/office/powerpoint/2010/main" val="1290931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687" y="424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01" imgH="298" progId="TCLayout.ActiveDocument.1">
                  <p:embed/>
                </p:oleObj>
              </mc:Choice>
              <mc:Fallback>
                <p:oleObj name="Diapositiva de think-cell" r:id="rId5" imgW="301" imgH="29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687" y="424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938541" y="2291489"/>
            <a:ext cx="16520051" cy="44613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hteck 7" hidden="1"/>
          <p:cNvSpPr/>
          <p:nvPr>
            <p:custDataLst>
              <p:tags r:id="rId2"/>
            </p:custDataLst>
          </p:nvPr>
        </p:nvSpPr>
        <p:spPr>
          <a:xfrm>
            <a:off x="3308" y="1862"/>
            <a:ext cx="238038" cy="2380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37118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799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Describe the value creation system you solution is involved in and define your role in i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3600" dirty="0">
                <a:solidFill>
                  <a:srgbClr val="333089"/>
                </a:solidFill>
                <a:latin typeface="Titillium Web Bold"/>
              </a:rPr>
              <a:t>Value Chain</a:t>
            </a:r>
          </a:p>
        </p:txBody>
      </p:sp>
      <p:sp>
        <p:nvSpPr>
          <p:cNvPr id="2" name="Abgerundetes Rechteck 1"/>
          <p:cNvSpPr/>
          <p:nvPr/>
        </p:nvSpPr>
        <p:spPr>
          <a:xfrm>
            <a:off x="1193998" y="3767108"/>
            <a:ext cx="2285174" cy="1160164"/>
          </a:xfrm>
          <a:prstGeom prst="roundRect">
            <a:avLst/>
          </a:prstGeom>
          <a:solidFill>
            <a:srgbClr val="478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w material producer</a:t>
            </a:r>
          </a:p>
        </p:txBody>
      </p:sp>
      <p:sp>
        <p:nvSpPr>
          <p:cNvPr id="4" name="Pfeil nach rechts 3"/>
          <p:cNvSpPr/>
          <p:nvPr/>
        </p:nvSpPr>
        <p:spPr>
          <a:xfrm>
            <a:off x="3624297" y="4105301"/>
            <a:ext cx="429192" cy="483776"/>
          </a:xfrm>
          <a:prstGeom prst="rightArrow">
            <a:avLst/>
          </a:prstGeom>
          <a:solidFill>
            <a:srgbClr val="4786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bgerundetes Rechteck 9"/>
          <p:cNvSpPr/>
          <p:nvPr/>
        </p:nvSpPr>
        <p:spPr>
          <a:xfrm>
            <a:off x="10678796" y="3755842"/>
            <a:ext cx="2414078" cy="1182697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iginal Equipment Manufacturer</a:t>
            </a:r>
          </a:p>
        </p:txBody>
      </p:sp>
      <p:sp>
        <p:nvSpPr>
          <p:cNvPr id="11" name="Abgerundetes Rechteck 10"/>
          <p:cNvSpPr/>
          <p:nvPr/>
        </p:nvSpPr>
        <p:spPr>
          <a:xfrm>
            <a:off x="14070055" y="3755842"/>
            <a:ext cx="2700710" cy="1182697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d-User</a:t>
            </a:r>
          </a:p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Target Group C)</a:t>
            </a:r>
          </a:p>
        </p:txBody>
      </p:sp>
      <p:sp>
        <p:nvSpPr>
          <p:cNvPr id="12" name="Pfeil nach rechts 11"/>
          <p:cNvSpPr/>
          <p:nvPr/>
        </p:nvSpPr>
        <p:spPr>
          <a:xfrm>
            <a:off x="10024578" y="4105301"/>
            <a:ext cx="490548" cy="483776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/>
        </p:nvSpPr>
        <p:spPr bwMode="gray">
          <a:xfrm>
            <a:off x="938538" y="6861836"/>
            <a:ext cx="8205033" cy="3039105"/>
          </a:xfrm>
          <a:prstGeom prst="rect">
            <a:avLst/>
          </a:prstGeom>
          <a:solidFill>
            <a:schemeClr val="accent1">
              <a:lumMod val="75000"/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1845" tIns="53980" rIns="431845" bIns="53980" rtlCol="0" anchor="ctr"/>
          <a:lstStyle/>
          <a:p>
            <a:pPr marL="0" marR="0" lvl="0" indent="0" algn="l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Describe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the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stakeholder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system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and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your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ole</a:t>
            </a: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+mn-cs"/>
            </a:endParaRPr>
          </a:p>
        </p:txBody>
      </p:sp>
      <p:sp>
        <p:nvSpPr>
          <p:cNvPr id="15" name="Rechteck 14"/>
          <p:cNvSpPr/>
          <p:nvPr/>
        </p:nvSpPr>
        <p:spPr bwMode="gray">
          <a:xfrm>
            <a:off x="9253558" y="6861836"/>
            <a:ext cx="8205033" cy="3039105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1845" tIns="53980" rIns="431845" bIns="53980" rtlCol="0" anchor="ctr"/>
          <a:lstStyle/>
          <a:p>
            <a:pPr marL="0" marR="0" lvl="0" indent="0" algn="l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Describe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the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ustomer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system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and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its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drivers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,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barriers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and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de-DE" sz="2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quirements</a:t>
            </a: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+mn-cs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113043" y="3755842"/>
            <a:ext cx="2414078" cy="1182697"/>
          </a:xfrm>
          <a:prstGeom prst="roundRect">
            <a:avLst/>
          </a:prstGeom>
          <a:noFill/>
          <a:ln>
            <a:solidFill>
              <a:srgbClr val="1F4E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y role</a:t>
            </a:r>
          </a:p>
        </p:txBody>
      </p:sp>
      <p:sp>
        <p:nvSpPr>
          <p:cNvPr id="18" name="Pfeil nach rechts 17"/>
          <p:cNvSpPr/>
          <p:nvPr/>
        </p:nvSpPr>
        <p:spPr>
          <a:xfrm>
            <a:off x="6762213" y="4105301"/>
            <a:ext cx="490548" cy="483776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Pfeil nach rechts 18"/>
          <p:cNvSpPr/>
          <p:nvPr/>
        </p:nvSpPr>
        <p:spPr>
          <a:xfrm>
            <a:off x="13336191" y="4105301"/>
            <a:ext cx="490548" cy="483776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Abgerundetes Rechteck 19"/>
          <p:cNvSpPr/>
          <p:nvPr/>
        </p:nvSpPr>
        <p:spPr>
          <a:xfrm>
            <a:off x="4123983" y="5195637"/>
            <a:ext cx="2403138" cy="1160164"/>
          </a:xfrm>
          <a:prstGeom prst="roundRect">
            <a:avLst/>
          </a:prstGeom>
          <a:solidFill>
            <a:srgbClr val="478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provider</a:t>
            </a:r>
          </a:p>
        </p:txBody>
      </p:sp>
      <p:sp>
        <p:nvSpPr>
          <p:cNvPr id="21" name="Abgerundetes Rechteck 20"/>
          <p:cNvSpPr/>
          <p:nvPr/>
        </p:nvSpPr>
        <p:spPr>
          <a:xfrm>
            <a:off x="14814088" y="5410759"/>
            <a:ext cx="1670048" cy="1160164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provider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7493508" y="2486691"/>
            <a:ext cx="2403138" cy="1160164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Group A</a:t>
            </a:r>
          </a:p>
        </p:txBody>
      </p:sp>
      <p:sp>
        <p:nvSpPr>
          <p:cNvPr id="23" name="Pfeil nach rechts 22"/>
          <p:cNvSpPr/>
          <p:nvPr/>
        </p:nvSpPr>
        <p:spPr>
          <a:xfrm rot="19902701">
            <a:off x="6688230" y="3154124"/>
            <a:ext cx="490548" cy="483776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Pfeil nach rechts 23"/>
          <p:cNvSpPr/>
          <p:nvPr/>
        </p:nvSpPr>
        <p:spPr>
          <a:xfrm rot="16200000">
            <a:off x="5074809" y="4801974"/>
            <a:ext cx="490548" cy="483776"/>
          </a:xfrm>
          <a:prstGeom prst="rightArrow">
            <a:avLst/>
          </a:prstGeom>
          <a:solidFill>
            <a:srgbClr val="4786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Pfeil nach rechts 24"/>
          <p:cNvSpPr/>
          <p:nvPr/>
        </p:nvSpPr>
        <p:spPr>
          <a:xfrm rot="16200000">
            <a:off x="15515601" y="4903894"/>
            <a:ext cx="490548" cy="483776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hteckiger Pfeil 25"/>
          <p:cNvSpPr/>
          <p:nvPr/>
        </p:nvSpPr>
        <p:spPr>
          <a:xfrm rot="5400000">
            <a:off x="12417911" y="545786"/>
            <a:ext cx="826922" cy="5375225"/>
          </a:xfrm>
          <a:prstGeom prst="bentArrow">
            <a:avLst>
              <a:gd name="adj1" fmla="val 27322"/>
              <a:gd name="adj2" fmla="val 25554"/>
              <a:gd name="adj3" fmla="val 35024"/>
              <a:gd name="adj4" fmla="val 26478"/>
            </a:avLst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180-Grad-Pfeil 30"/>
          <p:cNvSpPr/>
          <p:nvPr/>
        </p:nvSpPr>
        <p:spPr>
          <a:xfrm flipV="1">
            <a:off x="8483193" y="4705526"/>
            <a:ext cx="6230368" cy="1167220"/>
          </a:xfrm>
          <a:prstGeom prst="uturn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7482568" y="3755842"/>
            <a:ext cx="2414078" cy="1182697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Group B</a:t>
            </a:r>
          </a:p>
        </p:txBody>
      </p:sp>
    </p:spTree>
    <p:extLst>
      <p:ext uri="{BB962C8B-B14F-4D97-AF65-F5344CB8AC3E}">
        <p14:creationId xmlns:p14="http://schemas.microsoft.com/office/powerpoint/2010/main" val="214097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687" y="4241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87" y="4241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escrib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imary</a:t>
            </a:r>
            <a:r>
              <a:rPr lang="de-DE" dirty="0"/>
              <a:t> </a:t>
            </a:r>
            <a:r>
              <a:rPr lang="de-DE" dirty="0" err="1"/>
              <a:t>target</a:t>
            </a:r>
            <a:r>
              <a:rPr lang="de-DE" dirty="0"/>
              <a:t> </a:t>
            </a:r>
            <a:r>
              <a:rPr lang="de-DE" dirty="0" err="1"/>
              <a:t>group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interests</a:t>
            </a:r>
            <a:r>
              <a:rPr lang="de-DE" dirty="0"/>
              <a:t> </a:t>
            </a:r>
            <a:r>
              <a:rPr lang="de-DE" dirty="0" err="1"/>
              <a:t>regarding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 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sz="3600" dirty="0">
                <a:solidFill>
                  <a:srgbClr val="333089"/>
                </a:solidFill>
                <a:latin typeface="Titillium Web Bold"/>
              </a:rPr>
              <a:t>Target Groups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560319" y="2587203"/>
            <a:ext cx="17148320" cy="2137718"/>
            <a:chOff x="495298" y="1424304"/>
            <a:chExt cx="8312064" cy="1501200"/>
          </a:xfrm>
        </p:grpSpPr>
        <p:sp>
          <p:nvSpPr>
            <p:cNvPr id="9" name="Rechteck 8"/>
            <p:cNvSpPr/>
            <p:nvPr/>
          </p:nvSpPr>
          <p:spPr>
            <a:xfrm>
              <a:off x="495298" y="1424304"/>
              <a:ext cx="1759657" cy="1501200"/>
            </a:xfrm>
            <a:prstGeom prst="rect">
              <a:avLst/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arget </a:t>
              </a:r>
              <a:r>
                <a:rPr kumimoji="0" lang="de-DE" sz="24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roup</a:t>
              </a: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A</a:t>
              </a:r>
            </a:p>
          </p:txBody>
        </p:sp>
        <p:sp>
          <p:nvSpPr>
            <p:cNvPr id="10" name="Rechteck 9"/>
            <p:cNvSpPr/>
            <p:nvPr/>
          </p:nvSpPr>
          <p:spPr>
            <a:xfrm>
              <a:off x="2254957" y="1424304"/>
              <a:ext cx="2592288" cy="15012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4847244" y="1424304"/>
              <a:ext cx="3960118" cy="1501200"/>
            </a:xfrm>
            <a:prstGeom prst="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23883" rIns="0" rtlCol="0" anchor="ctr"/>
            <a:lstStyle/>
            <a:p>
              <a:pPr marL="261860" marR="0" lvl="0" indent="-261860" algn="l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scription of the target group role, their needs and </a:t>
              </a:r>
              <a:b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hallenges regarding your solution and refine your product-market-fit</a:t>
              </a:r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560319" y="4929505"/>
            <a:ext cx="17148320" cy="2137718"/>
            <a:chOff x="495298" y="1424304"/>
            <a:chExt cx="8312064" cy="1501200"/>
          </a:xfrm>
        </p:grpSpPr>
        <p:sp>
          <p:nvSpPr>
            <p:cNvPr id="21" name="Rechteck 20"/>
            <p:cNvSpPr/>
            <p:nvPr/>
          </p:nvSpPr>
          <p:spPr>
            <a:xfrm>
              <a:off x="495298" y="1424304"/>
              <a:ext cx="1759657" cy="1501200"/>
            </a:xfrm>
            <a:prstGeom prst="rect">
              <a:avLst/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arget </a:t>
              </a:r>
              <a:r>
                <a:rPr kumimoji="0" lang="de-DE" sz="24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roup</a:t>
              </a: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B</a:t>
              </a:r>
            </a:p>
          </p:txBody>
        </p:sp>
        <p:sp>
          <p:nvSpPr>
            <p:cNvPr id="22" name="Rechteck 21"/>
            <p:cNvSpPr/>
            <p:nvPr/>
          </p:nvSpPr>
          <p:spPr>
            <a:xfrm>
              <a:off x="2254957" y="1424304"/>
              <a:ext cx="2592288" cy="15012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4847244" y="1424304"/>
              <a:ext cx="3960118" cy="1501200"/>
            </a:xfrm>
            <a:prstGeom prst="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23883" rIns="0" rtlCol="0" anchor="ctr"/>
            <a:lstStyle/>
            <a:p>
              <a:pPr marL="261860" lvl="0" indent="-261860" defTabSz="1371189">
                <a:spcAft>
                  <a:spcPts val="9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kern="0" dirty="0">
                  <a:solidFill>
                    <a:prstClr val="white"/>
                  </a:solidFill>
                </a:rPr>
                <a:t>Description of the target group role, their needs and </a:t>
              </a:r>
              <a:br>
                <a:rPr lang="en-US" kern="0" dirty="0">
                  <a:solidFill>
                    <a:prstClr val="white"/>
                  </a:solidFill>
                </a:rPr>
              </a:br>
              <a:r>
                <a:rPr lang="en-US" kern="0" dirty="0">
                  <a:solidFill>
                    <a:prstClr val="white"/>
                  </a:solidFill>
                </a:rPr>
                <a:t>challenges regarding your solution and refine your product-market-fit</a:t>
              </a:r>
            </a:p>
          </p:txBody>
        </p:sp>
      </p:grpSp>
      <p:grpSp>
        <p:nvGrpSpPr>
          <p:cNvPr id="25" name="Gruppieren 24"/>
          <p:cNvGrpSpPr/>
          <p:nvPr/>
        </p:nvGrpSpPr>
        <p:grpSpPr>
          <a:xfrm>
            <a:off x="560319" y="7230038"/>
            <a:ext cx="17148320" cy="2137718"/>
            <a:chOff x="495298" y="1424304"/>
            <a:chExt cx="8312064" cy="1501200"/>
          </a:xfrm>
        </p:grpSpPr>
        <p:sp>
          <p:nvSpPr>
            <p:cNvPr id="26" name="Rechteck 25"/>
            <p:cNvSpPr/>
            <p:nvPr/>
          </p:nvSpPr>
          <p:spPr>
            <a:xfrm>
              <a:off x="495298" y="1424304"/>
              <a:ext cx="1759657" cy="1501200"/>
            </a:xfrm>
            <a:prstGeom prst="rect">
              <a:avLst/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arget </a:t>
              </a:r>
              <a:r>
                <a:rPr kumimoji="0" lang="de-DE" sz="24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roup</a:t>
              </a: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C</a:t>
              </a:r>
            </a:p>
          </p:txBody>
        </p:sp>
        <p:sp>
          <p:nvSpPr>
            <p:cNvPr id="27" name="Rechteck 26"/>
            <p:cNvSpPr/>
            <p:nvPr/>
          </p:nvSpPr>
          <p:spPr>
            <a:xfrm>
              <a:off x="2254957" y="1424304"/>
              <a:ext cx="2592288" cy="15012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371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4847244" y="1424304"/>
              <a:ext cx="3960118" cy="1501200"/>
            </a:xfrm>
            <a:prstGeom prst="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23883" rIns="0" rtlCol="0" anchor="ctr"/>
            <a:lstStyle/>
            <a:p>
              <a:pPr marL="261860" lvl="0" indent="-261860" defTabSz="1371189">
                <a:spcAft>
                  <a:spcPts val="9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kern="0" dirty="0">
                  <a:solidFill>
                    <a:prstClr val="white"/>
                  </a:solidFill>
                </a:rPr>
                <a:t>Description of the target group role, their needs and </a:t>
              </a:r>
              <a:br>
                <a:rPr lang="en-US" kern="0" dirty="0">
                  <a:solidFill>
                    <a:prstClr val="white"/>
                  </a:solidFill>
                </a:rPr>
              </a:br>
              <a:r>
                <a:rPr lang="en-US" kern="0" dirty="0">
                  <a:solidFill>
                    <a:prstClr val="white"/>
                  </a:solidFill>
                </a:rPr>
                <a:t>challenges regarding your solution and refine your product-market-fi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9467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-135196" y="0"/>
            <a:ext cx="9279196" cy="10287000"/>
            <a:chOff x="0" y="0"/>
            <a:chExt cx="3957966" cy="2709333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3957966" cy="2709333"/>
            </a:xfrm>
            <a:custGeom>
              <a:avLst/>
              <a:gdLst/>
              <a:ahLst/>
              <a:cxnLst/>
              <a:rect l="l" t="t" r="r" b="b"/>
              <a:pathLst>
                <a:path w="3957966" h="2709333">
                  <a:moveTo>
                    <a:pt x="51517" y="0"/>
                  </a:moveTo>
                  <a:lnTo>
                    <a:pt x="3906449" y="0"/>
                  </a:lnTo>
                  <a:cubicBezTo>
                    <a:pt x="3920112" y="0"/>
                    <a:pt x="3933216" y="5428"/>
                    <a:pt x="3942877" y="15089"/>
                  </a:cubicBezTo>
                  <a:cubicBezTo>
                    <a:pt x="3952539" y="24750"/>
                    <a:pt x="3957966" y="37854"/>
                    <a:pt x="3957966" y="51517"/>
                  </a:cubicBezTo>
                  <a:lnTo>
                    <a:pt x="3957966" y="2657816"/>
                  </a:lnTo>
                  <a:cubicBezTo>
                    <a:pt x="3957966" y="2686268"/>
                    <a:pt x="3934901" y="2709333"/>
                    <a:pt x="3906449" y="2709333"/>
                  </a:cubicBezTo>
                  <a:lnTo>
                    <a:pt x="51517" y="2709333"/>
                  </a:lnTo>
                  <a:cubicBezTo>
                    <a:pt x="23065" y="2709333"/>
                    <a:pt x="0" y="2686268"/>
                    <a:pt x="0" y="2657816"/>
                  </a:cubicBezTo>
                  <a:lnTo>
                    <a:pt x="0" y="51517"/>
                  </a:lnTo>
                  <a:cubicBezTo>
                    <a:pt x="0" y="23065"/>
                    <a:pt x="23065" y="0"/>
                    <a:pt x="51517" y="0"/>
                  </a:cubicBezTo>
                  <a:close/>
                </a:path>
              </a:pathLst>
            </a:custGeom>
            <a:solidFill>
              <a:srgbClr val="CAC0F6"/>
            </a:solidFill>
          </p:spPr>
          <p:txBody>
            <a:bodyPr/>
            <a:lstStyle/>
            <a:p>
              <a:endParaRPr lang="pl-PL" sz="1400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3957966" cy="274743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60"/>
                </a:lnSpc>
              </a:pPr>
              <a:endParaRPr sz="1400"/>
            </a:p>
          </p:txBody>
        </p:sp>
      </p:grpSp>
      <p:sp>
        <p:nvSpPr>
          <p:cNvPr id="16" name="Freeform 7">
            <a:extLst>
              <a:ext uri="{FF2B5EF4-FFF2-40B4-BE49-F238E27FC236}">
                <a16:creationId xmlns:a16="http://schemas.microsoft.com/office/drawing/2014/main" id="{E624FB3A-714F-46AA-B1BF-A4A370CBC559}"/>
              </a:ext>
            </a:extLst>
          </p:cNvPr>
          <p:cNvSpPr/>
          <p:nvPr/>
        </p:nvSpPr>
        <p:spPr>
          <a:xfrm>
            <a:off x="12221818" y="9040070"/>
            <a:ext cx="5037484" cy="850092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pl-PL" sz="1400"/>
          </a:p>
        </p:txBody>
      </p:sp>
      <p:sp>
        <p:nvSpPr>
          <p:cNvPr id="17" name="Freeform 8">
            <a:extLst>
              <a:ext uri="{FF2B5EF4-FFF2-40B4-BE49-F238E27FC236}">
                <a16:creationId xmlns:a16="http://schemas.microsoft.com/office/drawing/2014/main" id="{E836C171-1312-41B2-A9EF-15E40752FD2E}"/>
              </a:ext>
            </a:extLst>
          </p:cNvPr>
          <p:cNvSpPr/>
          <p:nvPr/>
        </p:nvSpPr>
        <p:spPr>
          <a:xfrm>
            <a:off x="1028700" y="9040071"/>
            <a:ext cx="2257552" cy="951610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pl-PL" sz="1400"/>
          </a:p>
        </p:txBody>
      </p:sp>
      <p:sp>
        <p:nvSpPr>
          <p:cNvPr id="20" name="Google Shape;827;p54">
            <a:extLst>
              <a:ext uri="{FF2B5EF4-FFF2-40B4-BE49-F238E27FC236}">
                <a16:creationId xmlns:a16="http://schemas.microsoft.com/office/drawing/2014/main" id="{C74A719F-2AD3-480C-9D9D-A118D61E1BAA}"/>
              </a:ext>
            </a:extLst>
          </p:cNvPr>
          <p:cNvSpPr txBox="1">
            <a:spLocks/>
          </p:cNvSpPr>
          <p:nvPr/>
        </p:nvSpPr>
        <p:spPr>
          <a:xfrm>
            <a:off x="646604" y="2695966"/>
            <a:ext cx="7580400" cy="14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defTabSz="1828800">
              <a:buClr>
                <a:srgbClr val="36338C"/>
              </a:buClr>
              <a:defRPr/>
            </a:pPr>
            <a:r>
              <a:rPr lang="en-GB" sz="6200" kern="0">
                <a:solidFill>
                  <a:srgbClr val="36338C"/>
                </a:solidFill>
              </a:rPr>
              <a:t>Contact Us!</a:t>
            </a:r>
          </a:p>
        </p:txBody>
      </p:sp>
      <p:sp>
        <p:nvSpPr>
          <p:cNvPr id="21" name="Google Shape;828;p54">
            <a:extLst>
              <a:ext uri="{FF2B5EF4-FFF2-40B4-BE49-F238E27FC236}">
                <a16:creationId xmlns:a16="http://schemas.microsoft.com/office/drawing/2014/main" id="{CA050A27-37BC-4F4F-89D1-86DFCA9BB2DB}"/>
              </a:ext>
            </a:extLst>
          </p:cNvPr>
          <p:cNvSpPr txBox="1">
            <a:spLocks/>
          </p:cNvSpPr>
          <p:nvPr/>
        </p:nvSpPr>
        <p:spPr>
          <a:xfrm>
            <a:off x="1259504" y="4562266"/>
            <a:ext cx="6354600" cy="25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None/>
              <a:defRPr sz="1800" b="1" i="0" u="none" strike="noStrike" cap="none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pPr marL="0" indent="0" defTabSz="1828800">
              <a:buClr>
                <a:srgbClr val="161620"/>
              </a:buClr>
              <a:defRPr/>
            </a:pPr>
            <a:r>
              <a:rPr lang="en-US" sz="3200" kern="0" dirty="0">
                <a:solidFill>
                  <a:srgbClr val="36338C"/>
                </a:solidFill>
              </a:rPr>
              <a:t>Do you have any questions?</a:t>
            </a:r>
          </a:p>
          <a:p>
            <a:pPr marL="0" indent="0" defTabSz="1828800">
              <a:buClr>
                <a:srgbClr val="161620"/>
              </a:buClr>
              <a:defRPr/>
            </a:pPr>
            <a:endParaRPr lang="en-US" sz="3200" kern="0" dirty="0">
              <a:solidFill>
                <a:srgbClr val="36338C"/>
              </a:solidFill>
            </a:endParaRPr>
          </a:p>
          <a:p>
            <a:pPr marL="0" indent="0" defTabSz="1828800">
              <a:buClr>
                <a:srgbClr val="161620"/>
              </a:buClr>
              <a:defRPr/>
            </a:pPr>
            <a:endParaRPr lang="en-US" sz="3200" kern="0" dirty="0">
              <a:solidFill>
                <a:srgbClr val="36338C"/>
              </a:solidFill>
            </a:endParaRPr>
          </a:p>
          <a:p>
            <a:pPr marL="0" indent="0" defTabSz="1828800">
              <a:buClr>
                <a:srgbClr val="161620"/>
              </a:buClr>
              <a:defRPr/>
            </a:pPr>
            <a:endParaRPr lang="en-US" sz="3200" kern="0" dirty="0">
              <a:solidFill>
                <a:srgbClr val="36338C"/>
              </a:solidFill>
            </a:endParaRPr>
          </a:p>
          <a:p>
            <a:pPr marL="0" indent="0" defTabSz="1828800">
              <a:buClr>
                <a:srgbClr val="161620"/>
              </a:buClr>
              <a:defRPr/>
            </a:pPr>
            <a:r>
              <a:rPr lang="en-US" sz="3400" kern="0" dirty="0">
                <a:solidFill>
                  <a:srgbClr val="36338C"/>
                </a:solidFill>
              </a:rPr>
              <a:t>teamup@eitfood.eu</a:t>
            </a:r>
          </a:p>
        </p:txBody>
      </p:sp>
      <p:sp>
        <p:nvSpPr>
          <p:cNvPr id="22" name="Freeform 15">
            <a:extLst>
              <a:ext uri="{FF2B5EF4-FFF2-40B4-BE49-F238E27FC236}">
                <a16:creationId xmlns:a16="http://schemas.microsoft.com/office/drawing/2014/main" id="{2848E517-CCE1-4392-AB25-272EC7491AA4}"/>
              </a:ext>
            </a:extLst>
          </p:cNvPr>
          <p:cNvSpPr/>
          <p:nvPr/>
        </p:nvSpPr>
        <p:spPr>
          <a:xfrm>
            <a:off x="11803986" y="2987828"/>
            <a:ext cx="3758304" cy="3758304"/>
          </a:xfrm>
          <a:custGeom>
            <a:avLst/>
            <a:gdLst/>
            <a:ahLst/>
            <a:cxnLst/>
            <a:rect l="l" t="t" r="r" b="b"/>
            <a:pathLst>
              <a:path w="1879152" h="1879152">
                <a:moveTo>
                  <a:pt x="0" y="0"/>
                </a:moveTo>
                <a:lnTo>
                  <a:pt x="1879153" y="0"/>
                </a:lnTo>
                <a:lnTo>
                  <a:pt x="1879153" y="1879152"/>
                </a:lnTo>
                <a:lnTo>
                  <a:pt x="0" y="187915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 sz="3600"/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ekmqIWJUY.UDNazjkv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46</TotalTime>
  <Words>246</Words>
  <Application>Microsoft Office PowerPoint</Application>
  <PresentationFormat>Personalizado</PresentationFormat>
  <Paragraphs>38</Paragraphs>
  <Slides>4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1" baseType="lpstr">
      <vt:lpstr>Titillium Web Bold</vt:lpstr>
      <vt:lpstr>Calibri</vt:lpstr>
      <vt:lpstr>Arial</vt:lpstr>
      <vt:lpstr>Wingdings</vt:lpstr>
      <vt:lpstr>Aptos</vt:lpstr>
      <vt:lpstr>Office Them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Up</dc:title>
  <dc:creator>Paulina Nowotka</dc:creator>
  <cp:lastModifiedBy>Vikesh Chugani</cp:lastModifiedBy>
  <cp:revision>17</cp:revision>
  <cp:lastPrinted>2024-08-27T09:38:12Z</cp:lastPrinted>
  <dcterms:created xsi:type="dcterms:W3CDTF">2006-08-16T00:00:00Z</dcterms:created>
  <dcterms:modified xsi:type="dcterms:W3CDTF">2025-08-28T10:55:15Z</dcterms:modified>
  <dc:identifier>DAGIHpOa55U</dc:identifier>
</cp:coreProperties>
</file>